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5"/>
  </p:notesMasterIdLst>
  <p:handoutMasterIdLst>
    <p:handoutMasterId r:id="rId46"/>
  </p:handoutMasterIdLst>
  <p:sldIdLst>
    <p:sldId id="289" r:id="rId2"/>
    <p:sldId id="259" r:id="rId3"/>
    <p:sldId id="357" r:id="rId4"/>
    <p:sldId id="362" r:id="rId5"/>
    <p:sldId id="286" r:id="rId6"/>
    <p:sldId id="382" r:id="rId7"/>
    <p:sldId id="365" r:id="rId8"/>
    <p:sldId id="381" r:id="rId9"/>
    <p:sldId id="288" r:id="rId10"/>
    <p:sldId id="377" r:id="rId11"/>
    <p:sldId id="378" r:id="rId12"/>
    <p:sldId id="366" r:id="rId13"/>
    <p:sldId id="383" r:id="rId14"/>
    <p:sldId id="367" r:id="rId15"/>
    <p:sldId id="385" r:id="rId16"/>
    <p:sldId id="363" r:id="rId17"/>
    <p:sldId id="396" r:id="rId18"/>
    <p:sldId id="401" r:id="rId19"/>
    <p:sldId id="390" r:id="rId20"/>
    <p:sldId id="376" r:id="rId21"/>
    <p:sldId id="392" r:id="rId22"/>
    <p:sldId id="394" r:id="rId23"/>
    <p:sldId id="404" r:id="rId24"/>
    <p:sldId id="398" r:id="rId25"/>
    <p:sldId id="405" r:id="rId26"/>
    <p:sldId id="371" r:id="rId27"/>
    <p:sldId id="395" r:id="rId28"/>
    <p:sldId id="399" r:id="rId29"/>
    <p:sldId id="400" r:id="rId30"/>
    <p:sldId id="368" r:id="rId31"/>
    <p:sldId id="374" r:id="rId32"/>
    <p:sldId id="386" r:id="rId33"/>
    <p:sldId id="397" r:id="rId34"/>
    <p:sldId id="369" r:id="rId35"/>
    <p:sldId id="389" r:id="rId36"/>
    <p:sldId id="296" r:id="rId37"/>
    <p:sldId id="391" r:id="rId38"/>
    <p:sldId id="370" r:id="rId39"/>
    <p:sldId id="393" r:id="rId40"/>
    <p:sldId id="402" r:id="rId41"/>
    <p:sldId id="403" r:id="rId42"/>
    <p:sldId id="387" r:id="rId43"/>
    <p:sldId id="388" r:id="rId44"/>
  </p:sldIdLst>
  <p:sldSz cx="9144000" cy="6858000" type="screen4x3"/>
  <p:notesSz cx="6735763" cy="9866313"/>
  <p:custDataLst>
    <p:tags r:id="rId47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7233F"/>
    <a:srgbClr val="DEEDFE"/>
    <a:srgbClr val="BFDBFD"/>
    <a:srgbClr val="E0F2C0"/>
    <a:srgbClr val="0A74F4"/>
    <a:srgbClr val="002C77"/>
    <a:srgbClr val="333333"/>
    <a:srgbClr val="00A0DB"/>
    <a:srgbClr val="AED1FC"/>
    <a:srgbClr val="A3C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58" autoAdjust="0"/>
    <p:restoredTop sz="94611" autoAdjust="0"/>
  </p:normalViewPr>
  <p:slideViewPr>
    <p:cSldViewPr snapToObjects="1">
      <p:cViewPr varScale="1">
        <p:scale>
          <a:sx n="106" d="100"/>
          <a:sy n="106" d="100"/>
        </p:scale>
        <p:origin x="2040" y="114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nnuel</c:v>
                </c:pt>
              </c:strCache>
            </c:strRef>
          </c:tx>
          <c:spPr>
            <a:ln w="28575" cap="rnd">
              <a:solidFill>
                <a:schemeClr val="accent4">
                  <a:shade val="76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shade val="76000"/>
                </a:schemeClr>
              </a:solidFill>
              <a:ln w="9525">
                <a:solidFill>
                  <a:schemeClr val="accent4">
                    <a:shade val="76000"/>
                  </a:schemeClr>
                </a:solidFill>
              </a:ln>
              <a:effectLst/>
            </c:spPr>
          </c:marker>
          <c:cat>
            <c:numRef>
              <c:f>Feuil1!$A$2:$A$46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</c:numRef>
          </c:cat>
          <c:val>
            <c:numRef>
              <c:f>Feuil1!$B$2:$B$46</c:f>
              <c:numCache>
                <c:formatCode>#,##0</c:formatCode>
                <c:ptCount val="45"/>
                <c:pt idx="0">
                  <c:v>497</c:v>
                </c:pt>
                <c:pt idx="1">
                  <c:v>428</c:v>
                </c:pt>
                <c:pt idx="2">
                  <c:v>421</c:v>
                </c:pt>
                <c:pt idx="3">
                  <c:v>421</c:v>
                </c:pt>
                <c:pt idx="4">
                  <c:v>481</c:v>
                </c:pt>
                <c:pt idx="5">
                  <c:v>508</c:v>
                </c:pt>
                <c:pt idx="6">
                  <c:v>559</c:v>
                </c:pt>
                <c:pt idx="7">
                  <c:v>573</c:v>
                </c:pt>
                <c:pt idx="8">
                  <c:v>553</c:v>
                </c:pt>
                <c:pt idx="9">
                  <c:v>525</c:v>
                </c:pt>
                <c:pt idx="10">
                  <c:v>512</c:v>
                </c:pt>
                <c:pt idx="11">
                  <c:v>493</c:v>
                </c:pt>
                <c:pt idx="12">
                  <c:v>519</c:v>
                </c:pt>
                <c:pt idx="13">
                  <c:v>454</c:v>
                </c:pt>
                <c:pt idx="14">
                  <c:v>480</c:v>
                </c:pt>
                <c:pt idx="15">
                  <c:v>753</c:v>
                </c:pt>
                <c:pt idx="16">
                  <c:v>871</c:v>
                </c:pt>
                <c:pt idx="17">
                  <c:v>947</c:v>
                </c:pt>
                <c:pt idx="18">
                  <c:v>937</c:v>
                </c:pt>
                <c:pt idx="19">
                  <c:v>952</c:v>
                </c:pt>
                <c:pt idx="20">
                  <c:v>1059</c:v>
                </c:pt>
                <c:pt idx="21">
                  <c:v>1162</c:v>
                </c:pt>
                <c:pt idx="22">
                  <c:v>1135</c:v>
                </c:pt>
                <c:pt idx="23">
                  <c:v>1258</c:v>
                </c:pt>
                <c:pt idx="24">
                  <c:v>1097</c:v>
                </c:pt>
                <c:pt idx="25">
                  <c:v>1004</c:v>
                </c:pt>
                <c:pt idx="26">
                  <c:v>920</c:v>
                </c:pt>
                <c:pt idx="27">
                  <c:v>971</c:v>
                </c:pt>
                <c:pt idx="28">
                  <c:v>1186</c:v>
                </c:pt>
                <c:pt idx="29">
                  <c:v>1258</c:v>
                </c:pt>
                <c:pt idx="30">
                  <c:v>1132</c:v>
                </c:pt>
                <c:pt idx="31">
                  <c:v>1137</c:v>
                </c:pt>
                <c:pt idx="32">
                  <c:v>1187</c:v>
                </c:pt>
                <c:pt idx="33">
                  <c:v>1198</c:v>
                </c:pt>
                <c:pt idx="34">
                  <c:v>1319</c:v>
                </c:pt>
                <c:pt idx="35">
                  <c:v>1374</c:v>
                </c:pt>
                <c:pt idx="36">
                  <c:v>1474</c:v>
                </c:pt>
                <c:pt idx="37">
                  <c:v>1492</c:v>
                </c:pt>
                <c:pt idx="38">
                  <c:v>1548</c:v>
                </c:pt>
                <c:pt idx="39">
                  <c:v>1461</c:v>
                </c:pt>
                <c:pt idx="40">
                  <c:v>1499</c:v>
                </c:pt>
                <c:pt idx="41">
                  <c:v>1447</c:v>
                </c:pt>
                <c:pt idx="42">
                  <c:v>1501</c:v>
                </c:pt>
                <c:pt idx="43">
                  <c:v>1505</c:v>
                </c:pt>
                <c:pt idx="44">
                  <c:v>14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CD-49C9-B141-1F7711B7403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Journalier</c:v>
                </c:pt>
              </c:strCache>
            </c:strRef>
          </c:tx>
          <c:spPr>
            <a:ln w="28575" cap="rnd">
              <a:solidFill>
                <a:schemeClr val="accent4">
                  <a:tint val="77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tint val="77000"/>
                </a:schemeClr>
              </a:solidFill>
              <a:ln w="9525">
                <a:solidFill>
                  <a:schemeClr val="accent4">
                    <a:tint val="77000"/>
                  </a:schemeClr>
                </a:solidFill>
              </a:ln>
              <a:effectLst/>
            </c:spPr>
          </c:marker>
          <c:cat>
            <c:numRef>
              <c:f>Feuil1!$A$2:$A$46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</c:numRef>
          </c:cat>
          <c:val>
            <c:numRef>
              <c:f>Feuil1!$C$2:$C$46</c:f>
              <c:numCache>
                <c:formatCode>#,##0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89</c:v>
                </c:pt>
                <c:pt idx="30">
                  <c:v>310</c:v>
                </c:pt>
                <c:pt idx="31">
                  <c:v>321</c:v>
                </c:pt>
                <c:pt idx="32">
                  <c:v>414</c:v>
                </c:pt>
                <c:pt idx="33">
                  <c:v>492</c:v>
                </c:pt>
                <c:pt idx="34">
                  <c:v>746</c:v>
                </c:pt>
                <c:pt idx="35">
                  <c:v>880</c:v>
                </c:pt>
                <c:pt idx="36">
                  <c:v>1171</c:v>
                </c:pt>
                <c:pt idx="37">
                  <c:v>1013</c:v>
                </c:pt>
                <c:pt idx="38">
                  <c:v>1206</c:v>
                </c:pt>
                <c:pt idx="39">
                  <c:v>1057</c:v>
                </c:pt>
                <c:pt idx="40">
                  <c:v>1487</c:v>
                </c:pt>
                <c:pt idx="41">
                  <c:v>1460</c:v>
                </c:pt>
                <c:pt idx="42">
                  <c:v>1572</c:v>
                </c:pt>
                <c:pt idx="43">
                  <c:v>1700</c:v>
                </c:pt>
                <c:pt idx="44">
                  <c:v>1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CD-49C9-B141-1F7711B74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7567440"/>
        <c:axId val="1117566960"/>
      </c:lineChart>
      <c:catAx>
        <c:axId val="111756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6960"/>
        <c:crosses val="autoZero"/>
        <c:auto val="1"/>
        <c:lblAlgn val="ctr"/>
        <c:lblOffset val="100"/>
        <c:noMultiLvlLbl val="0"/>
      </c:catAx>
      <c:valAx>
        <c:axId val="1117566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7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361917.7</c:v>
                </c:pt>
                <c:pt idx="1">
                  <c:v>419752.3</c:v>
                </c:pt>
                <c:pt idx="2">
                  <c:v>284723.59999999998</c:v>
                </c:pt>
                <c:pt idx="3">
                  <c:v>301062.3</c:v>
                </c:pt>
                <c:pt idx="4">
                  <c:v>293658</c:v>
                </c:pt>
                <c:pt idx="5">
                  <c:v>297258</c:v>
                </c:pt>
                <c:pt idx="6">
                  <c:v>308416</c:v>
                </c:pt>
                <c:pt idx="7">
                  <c:v>322692</c:v>
                </c:pt>
                <c:pt idx="8">
                  <c:v>323925</c:v>
                </c:pt>
                <c:pt idx="9">
                  <c:v>327532</c:v>
                </c:pt>
                <c:pt idx="10">
                  <c:v>301329</c:v>
                </c:pt>
                <c:pt idx="11">
                  <c:v>338414</c:v>
                </c:pt>
                <c:pt idx="12">
                  <c:v>348254</c:v>
                </c:pt>
                <c:pt idx="13">
                  <c:v>468972</c:v>
                </c:pt>
                <c:pt idx="14">
                  <c:v>530971</c:v>
                </c:pt>
                <c:pt idx="15">
                  <c:v>526654</c:v>
                </c:pt>
                <c:pt idx="16">
                  <c:v>433865</c:v>
                </c:pt>
                <c:pt idx="17">
                  <c:v>353981</c:v>
                </c:pt>
                <c:pt idx="18">
                  <c:v>265864</c:v>
                </c:pt>
                <c:pt idx="19">
                  <c:v>393480</c:v>
                </c:pt>
                <c:pt idx="20">
                  <c:v>420522</c:v>
                </c:pt>
                <c:pt idx="21">
                  <c:v>207729</c:v>
                </c:pt>
                <c:pt idx="22">
                  <c:v>244816</c:v>
                </c:pt>
                <c:pt idx="23">
                  <c:v>318045</c:v>
                </c:pt>
                <c:pt idx="24">
                  <c:v>196971</c:v>
                </c:pt>
                <c:pt idx="25">
                  <c:v>318541</c:v>
                </c:pt>
                <c:pt idx="26">
                  <c:v>502942</c:v>
                </c:pt>
                <c:pt idx="27">
                  <c:v>206336</c:v>
                </c:pt>
                <c:pt idx="28">
                  <c:v>300529</c:v>
                </c:pt>
                <c:pt idx="29">
                  <c:v>552201.5</c:v>
                </c:pt>
                <c:pt idx="30">
                  <c:v>308445</c:v>
                </c:pt>
                <c:pt idx="31">
                  <c:v>381292</c:v>
                </c:pt>
                <c:pt idx="32">
                  <c:v>530369.80000000005</c:v>
                </c:pt>
                <c:pt idx="33">
                  <c:v>293907</c:v>
                </c:pt>
                <c:pt idx="34">
                  <c:v>376497</c:v>
                </c:pt>
                <c:pt idx="35">
                  <c:v>325119</c:v>
                </c:pt>
                <c:pt idx="36">
                  <c:v>234189.8</c:v>
                </c:pt>
                <c:pt idx="37">
                  <c:v>487435.5</c:v>
                </c:pt>
                <c:pt idx="38">
                  <c:v>425566</c:v>
                </c:pt>
                <c:pt idx="39">
                  <c:v>305830.40000000002</c:v>
                </c:pt>
                <c:pt idx="40">
                  <c:v>483857.9</c:v>
                </c:pt>
                <c:pt idx="41">
                  <c:v>709883</c:v>
                </c:pt>
                <c:pt idx="42">
                  <c:v>563278</c:v>
                </c:pt>
                <c:pt idx="43">
                  <c:v>416396</c:v>
                </c:pt>
                <c:pt idx="44">
                  <c:v>484150</c:v>
                </c:pt>
                <c:pt idx="45">
                  <c:v>614148</c:v>
                </c:pt>
                <c:pt idx="46">
                  <c:v>561291</c:v>
                </c:pt>
                <c:pt idx="47">
                  <c:v>639747</c:v>
                </c:pt>
                <c:pt idx="48">
                  <c:v>354932</c:v>
                </c:pt>
                <c:pt idx="49">
                  <c:v>279227</c:v>
                </c:pt>
                <c:pt idx="50">
                  <c:v>232098</c:v>
                </c:pt>
                <c:pt idx="51">
                  <c:v>172723</c:v>
                </c:pt>
                <c:pt idx="52">
                  <c:v>200876</c:v>
                </c:pt>
                <c:pt idx="53">
                  <c:v>199432</c:v>
                </c:pt>
                <c:pt idx="54">
                  <c:v>240111</c:v>
                </c:pt>
                <c:pt idx="55">
                  <c:v>271123.05</c:v>
                </c:pt>
                <c:pt idx="56">
                  <c:v>320284.40000000002</c:v>
                </c:pt>
                <c:pt idx="57">
                  <c:v>308808.64999999997</c:v>
                </c:pt>
                <c:pt idx="58">
                  <c:v>287197.2</c:v>
                </c:pt>
                <c:pt idx="59">
                  <c:v>312868.8</c:v>
                </c:pt>
                <c:pt idx="60">
                  <c:v>281331.72000000003</c:v>
                </c:pt>
                <c:pt idx="61">
                  <c:v>248638.99999999997</c:v>
                </c:pt>
                <c:pt idx="62">
                  <c:v>249836.60000000003</c:v>
                </c:pt>
                <c:pt idx="63">
                  <c:v>265564.43000000005</c:v>
                </c:pt>
                <c:pt idx="64">
                  <c:v>289552.40000000002</c:v>
                </c:pt>
                <c:pt idx="65">
                  <c:v>287500.40000000002</c:v>
                </c:pt>
                <c:pt idx="66">
                  <c:v>296873.7</c:v>
                </c:pt>
                <c:pt idx="67">
                  <c:v>256901.50000000003</c:v>
                </c:pt>
                <c:pt idx="68">
                  <c:v>351597.1</c:v>
                </c:pt>
                <c:pt idx="69">
                  <c:v>360481</c:v>
                </c:pt>
                <c:pt idx="70">
                  <c:v>331188.89999999997</c:v>
                </c:pt>
                <c:pt idx="71">
                  <c:v>314246</c:v>
                </c:pt>
                <c:pt idx="72">
                  <c:v>338543.3</c:v>
                </c:pt>
                <c:pt idx="73">
                  <c:v>233564.10000000003</c:v>
                </c:pt>
                <c:pt idx="74">
                  <c:v>163110.90000000002</c:v>
                </c:pt>
                <c:pt idx="75">
                  <c:v>89937.5</c:v>
                </c:pt>
                <c:pt idx="76">
                  <c:v>132814.04</c:v>
                </c:pt>
                <c:pt idx="77">
                  <c:v>138741.5</c:v>
                </c:pt>
                <c:pt idx="78">
                  <c:v>92651.3</c:v>
                </c:pt>
                <c:pt idx="79">
                  <c:v>106461</c:v>
                </c:pt>
                <c:pt idx="80">
                  <c:v>9924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11853</c:v>
                </c:pt>
                <c:pt idx="1">
                  <c:v>11029</c:v>
                </c:pt>
                <c:pt idx="2">
                  <c:v>10418</c:v>
                </c:pt>
                <c:pt idx="3">
                  <c:v>9035</c:v>
                </c:pt>
                <c:pt idx="4">
                  <c:v>7940</c:v>
                </c:pt>
                <c:pt idx="5">
                  <c:v>10858</c:v>
                </c:pt>
                <c:pt idx="6">
                  <c:v>11020</c:v>
                </c:pt>
                <c:pt idx="7">
                  <c:v>13757</c:v>
                </c:pt>
                <c:pt idx="8">
                  <c:v>18325</c:v>
                </c:pt>
                <c:pt idx="9">
                  <c:v>13445</c:v>
                </c:pt>
                <c:pt idx="10">
                  <c:v>9752</c:v>
                </c:pt>
                <c:pt idx="11">
                  <c:v>8787</c:v>
                </c:pt>
                <c:pt idx="12">
                  <c:v>11327</c:v>
                </c:pt>
                <c:pt idx="13">
                  <c:v>17641</c:v>
                </c:pt>
                <c:pt idx="14">
                  <c:v>34432</c:v>
                </c:pt>
                <c:pt idx="15">
                  <c:v>14369</c:v>
                </c:pt>
                <c:pt idx="16">
                  <c:v>8776</c:v>
                </c:pt>
                <c:pt idx="17">
                  <c:v>16696</c:v>
                </c:pt>
                <c:pt idx="18">
                  <c:v>52443</c:v>
                </c:pt>
                <c:pt idx="19">
                  <c:v>38837</c:v>
                </c:pt>
                <c:pt idx="20">
                  <c:v>47662</c:v>
                </c:pt>
                <c:pt idx="21">
                  <c:v>19425</c:v>
                </c:pt>
                <c:pt idx="22">
                  <c:v>59007</c:v>
                </c:pt>
                <c:pt idx="23">
                  <c:v>34968</c:v>
                </c:pt>
                <c:pt idx="24">
                  <c:v>12098</c:v>
                </c:pt>
                <c:pt idx="25">
                  <c:v>111512</c:v>
                </c:pt>
                <c:pt idx="26">
                  <c:v>41584</c:v>
                </c:pt>
                <c:pt idx="27">
                  <c:v>16560</c:v>
                </c:pt>
                <c:pt idx="28">
                  <c:v>87274</c:v>
                </c:pt>
                <c:pt idx="29">
                  <c:v>49921.5</c:v>
                </c:pt>
                <c:pt idx="30">
                  <c:v>12724</c:v>
                </c:pt>
                <c:pt idx="31">
                  <c:v>62195</c:v>
                </c:pt>
                <c:pt idx="32">
                  <c:v>19400.2</c:v>
                </c:pt>
                <c:pt idx="33">
                  <c:v>8275.6000000000022</c:v>
                </c:pt>
                <c:pt idx="34">
                  <c:v>89666</c:v>
                </c:pt>
                <c:pt idx="35">
                  <c:v>16081</c:v>
                </c:pt>
                <c:pt idx="36">
                  <c:v>5171.7</c:v>
                </c:pt>
                <c:pt idx="37">
                  <c:v>21527</c:v>
                </c:pt>
                <c:pt idx="38">
                  <c:v>9991</c:v>
                </c:pt>
                <c:pt idx="39">
                  <c:v>39249.599999999999</c:v>
                </c:pt>
                <c:pt idx="40">
                  <c:v>20875.899999999998</c:v>
                </c:pt>
                <c:pt idx="41">
                  <c:v>29395</c:v>
                </c:pt>
                <c:pt idx="42">
                  <c:v>15484</c:v>
                </c:pt>
                <c:pt idx="43">
                  <c:v>11888</c:v>
                </c:pt>
                <c:pt idx="44">
                  <c:v>8846</c:v>
                </c:pt>
                <c:pt idx="45">
                  <c:v>13666</c:v>
                </c:pt>
                <c:pt idx="46">
                  <c:v>10683</c:v>
                </c:pt>
                <c:pt idx="47">
                  <c:v>22830</c:v>
                </c:pt>
                <c:pt idx="48">
                  <c:v>6204</c:v>
                </c:pt>
                <c:pt idx="49">
                  <c:v>6703</c:v>
                </c:pt>
                <c:pt idx="50">
                  <c:v>7861</c:v>
                </c:pt>
                <c:pt idx="51">
                  <c:v>12746</c:v>
                </c:pt>
                <c:pt idx="52">
                  <c:v>15687</c:v>
                </c:pt>
                <c:pt idx="53">
                  <c:v>12217</c:v>
                </c:pt>
                <c:pt idx="54">
                  <c:v>14065</c:v>
                </c:pt>
                <c:pt idx="55">
                  <c:v>19264.95</c:v>
                </c:pt>
                <c:pt idx="56">
                  <c:v>21878.5</c:v>
                </c:pt>
                <c:pt idx="57">
                  <c:v>21701.750000000007</c:v>
                </c:pt>
                <c:pt idx="58">
                  <c:v>22668.799999999999</c:v>
                </c:pt>
                <c:pt idx="59">
                  <c:v>27089.699999999997</c:v>
                </c:pt>
                <c:pt idx="60">
                  <c:v>17607.979999999992</c:v>
                </c:pt>
                <c:pt idx="61">
                  <c:v>21831.500000000007</c:v>
                </c:pt>
                <c:pt idx="62">
                  <c:v>23109</c:v>
                </c:pt>
                <c:pt idx="63">
                  <c:v>23519</c:v>
                </c:pt>
                <c:pt idx="64">
                  <c:v>26490</c:v>
                </c:pt>
                <c:pt idx="65">
                  <c:v>21635</c:v>
                </c:pt>
                <c:pt idx="66">
                  <c:v>26902</c:v>
                </c:pt>
                <c:pt idx="67">
                  <c:v>19756</c:v>
                </c:pt>
                <c:pt idx="68">
                  <c:v>22579</c:v>
                </c:pt>
                <c:pt idx="69">
                  <c:v>21484</c:v>
                </c:pt>
                <c:pt idx="70">
                  <c:v>24833</c:v>
                </c:pt>
                <c:pt idx="71">
                  <c:v>30995</c:v>
                </c:pt>
                <c:pt idx="72">
                  <c:v>30383</c:v>
                </c:pt>
                <c:pt idx="73">
                  <c:v>25452.750000000004</c:v>
                </c:pt>
                <c:pt idx="74">
                  <c:v>25419.65</c:v>
                </c:pt>
                <c:pt idx="75">
                  <c:v>19871</c:v>
                </c:pt>
                <c:pt idx="76">
                  <c:v>23705</c:v>
                </c:pt>
                <c:pt idx="77">
                  <c:v>24316</c:v>
                </c:pt>
                <c:pt idx="78">
                  <c:v>23279</c:v>
                </c:pt>
                <c:pt idx="79">
                  <c:v>20028</c:v>
                </c:pt>
                <c:pt idx="80">
                  <c:v>20762.8229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7.072359040459923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61736.4</c:v>
                </c:pt>
                <c:pt idx="1">
                  <c:v>151970.90000000002</c:v>
                </c:pt>
                <c:pt idx="2">
                  <c:v>123392.5</c:v>
                </c:pt>
                <c:pt idx="3">
                  <c:v>117614.40000000001</c:v>
                </c:pt>
                <c:pt idx="4">
                  <c:v>121664.8</c:v>
                </c:pt>
                <c:pt idx="5">
                  <c:v>87948.2</c:v>
                </c:pt>
                <c:pt idx="6">
                  <c:v>86856.5</c:v>
                </c:pt>
                <c:pt idx="7">
                  <c:v>118859.5</c:v>
                </c:pt>
                <c:pt idx="8">
                  <c:v>155987.5</c:v>
                </c:pt>
                <c:pt idx="9">
                  <c:v>121738</c:v>
                </c:pt>
                <c:pt idx="10">
                  <c:v>129895</c:v>
                </c:pt>
                <c:pt idx="11">
                  <c:v>128385</c:v>
                </c:pt>
                <c:pt idx="12">
                  <c:v>179507</c:v>
                </c:pt>
                <c:pt idx="13">
                  <c:v>169687</c:v>
                </c:pt>
                <c:pt idx="14">
                  <c:v>171180</c:v>
                </c:pt>
                <c:pt idx="15">
                  <c:v>123440</c:v>
                </c:pt>
                <c:pt idx="16">
                  <c:v>118236.3</c:v>
                </c:pt>
                <c:pt idx="17">
                  <c:v>116668</c:v>
                </c:pt>
                <c:pt idx="18">
                  <c:v>65752</c:v>
                </c:pt>
                <c:pt idx="19">
                  <c:v>24641.7</c:v>
                </c:pt>
                <c:pt idx="20">
                  <c:v>51234.3</c:v>
                </c:pt>
                <c:pt idx="21">
                  <c:v>46065</c:v>
                </c:pt>
                <c:pt idx="22">
                  <c:v>20816.3</c:v>
                </c:pt>
                <c:pt idx="23">
                  <c:v>17602</c:v>
                </c:pt>
                <c:pt idx="24">
                  <c:v>1154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B-4F9A-81DA-5851E30DB4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At val="0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76740.5</c:v>
                </c:pt>
                <c:pt idx="1">
                  <c:v>81108.5</c:v>
                </c:pt>
                <c:pt idx="2">
                  <c:v>82180</c:v>
                </c:pt>
                <c:pt idx="3">
                  <c:v>79454.649999999994</c:v>
                </c:pt>
                <c:pt idx="4">
                  <c:v>61311.5</c:v>
                </c:pt>
                <c:pt idx="5">
                  <c:v>95987.9</c:v>
                </c:pt>
                <c:pt idx="6">
                  <c:v>81894</c:v>
                </c:pt>
                <c:pt idx="7">
                  <c:v>58921.2</c:v>
                </c:pt>
                <c:pt idx="8">
                  <c:v>57779.6</c:v>
                </c:pt>
                <c:pt idx="9">
                  <c:v>85668</c:v>
                </c:pt>
                <c:pt idx="10">
                  <c:v>112042</c:v>
                </c:pt>
                <c:pt idx="11">
                  <c:v>68227</c:v>
                </c:pt>
                <c:pt idx="12">
                  <c:v>116717</c:v>
                </c:pt>
                <c:pt idx="13">
                  <c:v>127039</c:v>
                </c:pt>
                <c:pt idx="14">
                  <c:v>99205</c:v>
                </c:pt>
                <c:pt idx="15">
                  <c:v>123236</c:v>
                </c:pt>
                <c:pt idx="16">
                  <c:v>160178</c:v>
                </c:pt>
                <c:pt idx="17">
                  <c:v>54591</c:v>
                </c:pt>
                <c:pt idx="18">
                  <c:v>29921.1</c:v>
                </c:pt>
                <c:pt idx="19">
                  <c:v>16512</c:v>
                </c:pt>
                <c:pt idx="20">
                  <c:v>17093</c:v>
                </c:pt>
                <c:pt idx="21">
                  <c:v>30649</c:v>
                </c:pt>
                <c:pt idx="22">
                  <c:v>18935</c:v>
                </c:pt>
                <c:pt idx="23">
                  <c:v>10743</c:v>
                </c:pt>
                <c:pt idx="24">
                  <c:v>1074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B-4F9A-81DA-5851E30DB4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At val="0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0</c:v>
                </c:pt>
                <c:pt idx="1">
                  <c:v>1</c:v>
                </c:pt>
                <c:pt idx="2">
                  <c:v>242.5</c:v>
                </c:pt>
                <c:pt idx="3">
                  <c:v>32.94999999999709</c:v>
                </c:pt>
                <c:pt idx="4">
                  <c:v>174.69999999999709</c:v>
                </c:pt>
                <c:pt idx="5">
                  <c:v>666.90000000000873</c:v>
                </c:pt>
                <c:pt idx="6">
                  <c:v>781</c:v>
                </c:pt>
                <c:pt idx="7">
                  <c:v>580</c:v>
                </c:pt>
                <c:pt idx="8">
                  <c:v>859</c:v>
                </c:pt>
                <c:pt idx="9">
                  <c:v>1403</c:v>
                </c:pt>
                <c:pt idx="10">
                  <c:v>1117</c:v>
                </c:pt>
                <c:pt idx="11">
                  <c:v>1305</c:v>
                </c:pt>
                <c:pt idx="12">
                  <c:v>2337</c:v>
                </c:pt>
                <c:pt idx="13">
                  <c:v>2412</c:v>
                </c:pt>
                <c:pt idx="14">
                  <c:v>3179</c:v>
                </c:pt>
                <c:pt idx="15">
                  <c:v>4056</c:v>
                </c:pt>
                <c:pt idx="16">
                  <c:v>5805</c:v>
                </c:pt>
                <c:pt idx="17">
                  <c:v>5635.4479999999994</c:v>
                </c:pt>
                <c:pt idx="18">
                  <c:v>6454</c:v>
                </c:pt>
                <c:pt idx="19">
                  <c:v>4784</c:v>
                </c:pt>
                <c:pt idx="20">
                  <c:v>5627</c:v>
                </c:pt>
                <c:pt idx="21">
                  <c:v>5762</c:v>
                </c:pt>
                <c:pt idx="22">
                  <c:v>3692</c:v>
                </c:pt>
                <c:pt idx="23">
                  <c:v>2329</c:v>
                </c:pt>
                <c:pt idx="24">
                  <c:v>2374.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F-4127-948F-391CE8AC8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225756</c:v>
                </c:pt>
                <c:pt idx="1">
                  <c:v>228326</c:v>
                </c:pt>
                <c:pt idx="2">
                  <c:v>163465</c:v>
                </c:pt>
                <c:pt idx="3">
                  <c:v>178020</c:v>
                </c:pt>
                <c:pt idx="4">
                  <c:v>187090</c:v>
                </c:pt>
                <c:pt idx="5">
                  <c:v>175060</c:v>
                </c:pt>
                <c:pt idx="6">
                  <c:v>202997</c:v>
                </c:pt>
                <c:pt idx="7">
                  <c:v>202253</c:v>
                </c:pt>
                <c:pt idx="8">
                  <c:v>198256</c:v>
                </c:pt>
                <c:pt idx="9">
                  <c:v>193130</c:v>
                </c:pt>
                <c:pt idx="10">
                  <c:v>184311</c:v>
                </c:pt>
                <c:pt idx="11">
                  <c:v>230921</c:v>
                </c:pt>
                <c:pt idx="12">
                  <c:v>239541</c:v>
                </c:pt>
                <c:pt idx="13">
                  <c:v>345862</c:v>
                </c:pt>
                <c:pt idx="14">
                  <c:v>396293</c:v>
                </c:pt>
                <c:pt idx="15">
                  <c:v>376879</c:v>
                </c:pt>
                <c:pt idx="16">
                  <c:v>257340</c:v>
                </c:pt>
                <c:pt idx="17">
                  <c:v>210870</c:v>
                </c:pt>
                <c:pt idx="18">
                  <c:v>119317</c:v>
                </c:pt>
                <c:pt idx="19">
                  <c:v>71533</c:v>
                </c:pt>
                <c:pt idx="20">
                  <c:v>35035</c:v>
                </c:pt>
                <c:pt idx="21">
                  <c:v>42426</c:v>
                </c:pt>
                <c:pt idx="22">
                  <c:v>113400</c:v>
                </c:pt>
                <c:pt idx="23">
                  <c:v>63709</c:v>
                </c:pt>
                <c:pt idx="24">
                  <c:v>65020</c:v>
                </c:pt>
                <c:pt idx="25">
                  <c:v>124635</c:v>
                </c:pt>
                <c:pt idx="26">
                  <c:v>90841</c:v>
                </c:pt>
                <c:pt idx="27">
                  <c:v>72976</c:v>
                </c:pt>
                <c:pt idx="28">
                  <c:v>93764</c:v>
                </c:pt>
                <c:pt idx="29">
                  <c:v>141789</c:v>
                </c:pt>
                <c:pt idx="30">
                  <c:v>106343</c:v>
                </c:pt>
                <c:pt idx="31">
                  <c:v>102635</c:v>
                </c:pt>
                <c:pt idx="32">
                  <c:v>108097</c:v>
                </c:pt>
                <c:pt idx="33">
                  <c:v>42046.1</c:v>
                </c:pt>
                <c:pt idx="34">
                  <c:v>60910</c:v>
                </c:pt>
                <c:pt idx="35">
                  <c:v>73052</c:v>
                </c:pt>
                <c:pt idx="36">
                  <c:v>43568</c:v>
                </c:pt>
                <c:pt idx="37">
                  <c:v>44902</c:v>
                </c:pt>
                <c:pt idx="38">
                  <c:v>53853</c:v>
                </c:pt>
                <c:pt idx="39">
                  <c:v>69919</c:v>
                </c:pt>
                <c:pt idx="40">
                  <c:v>97861.8</c:v>
                </c:pt>
                <c:pt idx="41">
                  <c:v>292175</c:v>
                </c:pt>
                <c:pt idx="42">
                  <c:v>306845</c:v>
                </c:pt>
                <c:pt idx="43">
                  <c:v>216411</c:v>
                </c:pt>
                <c:pt idx="44">
                  <c:v>210295</c:v>
                </c:pt>
                <c:pt idx="45">
                  <c:v>213990</c:v>
                </c:pt>
                <c:pt idx="46">
                  <c:v>292195</c:v>
                </c:pt>
                <c:pt idx="47">
                  <c:v>195809</c:v>
                </c:pt>
                <c:pt idx="48">
                  <c:v>138861</c:v>
                </c:pt>
                <c:pt idx="49">
                  <c:v>168330</c:v>
                </c:pt>
                <c:pt idx="50">
                  <c:v>143150</c:v>
                </c:pt>
                <c:pt idx="51">
                  <c:v>102053</c:v>
                </c:pt>
                <c:pt idx="52">
                  <c:v>102514</c:v>
                </c:pt>
                <c:pt idx="53">
                  <c:v>119270</c:v>
                </c:pt>
                <c:pt idx="54">
                  <c:v>157193</c:v>
                </c:pt>
                <c:pt idx="55">
                  <c:v>184890</c:v>
                </c:pt>
                <c:pt idx="56">
                  <c:v>238476.9</c:v>
                </c:pt>
                <c:pt idx="57">
                  <c:v>233079.40000000002</c:v>
                </c:pt>
                <c:pt idx="58">
                  <c:v>205572.5</c:v>
                </c:pt>
                <c:pt idx="59">
                  <c:v>197069.05</c:v>
                </c:pt>
                <c:pt idx="60">
                  <c:v>182976.3</c:v>
                </c:pt>
                <c:pt idx="61">
                  <c:v>183936.09999999998</c:v>
                </c:pt>
                <c:pt idx="62">
                  <c:v>168750.5</c:v>
                </c:pt>
                <c:pt idx="63">
                  <c:v>177780.7</c:v>
                </c:pt>
                <c:pt idx="64">
                  <c:v>213767.1</c:v>
                </c:pt>
                <c:pt idx="65">
                  <c:v>207406</c:v>
                </c:pt>
                <c:pt idx="66">
                  <c:v>241937</c:v>
                </c:pt>
                <c:pt idx="67">
                  <c:v>196612</c:v>
                </c:pt>
                <c:pt idx="68">
                  <c:v>296224</c:v>
                </c:pt>
                <c:pt idx="69">
                  <c:v>296726</c:v>
                </c:pt>
                <c:pt idx="70">
                  <c:v>270385</c:v>
                </c:pt>
                <c:pt idx="71">
                  <c:v>246676</c:v>
                </c:pt>
                <c:pt idx="72">
                  <c:v>278414.3</c:v>
                </c:pt>
                <c:pt idx="73">
                  <c:v>171259</c:v>
                </c:pt>
                <c:pt idx="74">
                  <c:v>95673.1</c:v>
                </c:pt>
                <c:pt idx="75">
                  <c:v>41153.699999999997</c:v>
                </c:pt>
                <c:pt idx="76">
                  <c:v>68327.3</c:v>
                </c:pt>
                <c:pt idx="77">
                  <c:v>76714</c:v>
                </c:pt>
                <c:pt idx="78">
                  <c:v>39751.300000000003</c:v>
                </c:pt>
                <c:pt idx="79">
                  <c:v>28345</c:v>
                </c:pt>
                <c:pt idx="80">
                  <c:v>2229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4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242.5</c:v>
                </c:pt>
                <c:pt idx="59">
                  <c:v>32.94999999999709</c:v>
                </c:pt>
                <c:pt idx="60">
                  <c:v>174.69999999999709</c:v>
                </c:pt>
                <c:pt idx="61">
                  <c:v>666.90000000000873</c:v>
                </c:pt>
                <c:pt idx="62">
                  <c:v>781</c:v>
                </c:pt>
                <c:pt idx="63">
                  <c:v>580</c:v>
                </c:pt>
                <c:pt idx="64">
                  <c:v>859</c:v>
                </c:pt>
                <c:pt idx="65">
                  <c:v>1403</c:v>
                </c:pt>
                <c:pt idx="66">
                  <c:v>1117</c:v>
                </c:pt>
                <c:pt idx="67">
                  <c:v>1305</c:v>
                </c:pt>
                <c:pt idx="68">
                  <c:v>2337</c:v>
                </c:pt>
                <c:pt idx="69">
                  <c:v>2412</c:v>
                </c:pt>
                <c:pt idx="70">
                  <c:v>3179</c:v>
                </c:pt>
                <c:pt idx="71">
                  <c:v>4056</c:v>
                </c:pt>
                <c:pt idx="72">
                  <c:v>5805</c:v>
                </c:pt>
                <c:pt idx="73">
                  <c:v>5635.4479999999994</c:v>
                </c:pt>
                <c:pt idx="74">
                  <c:v>6454</c:v>
                </c:pt>
                <c:pt idx="75">
                  <c:v>4784</c:v>
                </c:pt>
                <c:pt idx="76">
                  <c:v>5627</c:v>
                </c:pt>
                <c:pt idx="77">
                  <c:v>5762</c:v>
                </c:pt>
                <c:pt idx="78">
                  <c:v>3692</c:v>
                </c:pt>
                <c:pt idx="79">
                  <c:v>2329</c:v>
                </c:pt>
                <c:pt idx="80">
                  <c:v>2374.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7.072359040459923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alées</c:v>
                </c:pt>
              </c:strCache>
            </c:strRef>
          </c:tx>
          <c:spPr>
            <a:ln w="28575" cap="rnd">
              <a:solidFill>
                <a:schemeClr val="accent4">
                  <a:shade val="76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shade val="76000"/>
                </a:schemeClr>
              </a:solidFill>
              <a:ln w="9525">
                <a:solidFill>
                  <a:schemeClr val="accent4">
                    <a:shade val="76000"/>
                  </a:schemeClr>
                </a:solidFill>
              </a:ln>
              <a:effectLst/>
            </c:spPr>
          </c:marker>
          <c:cat>
            <c:numRef>
              <c:f>Feuil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Feuil1!$B$2:$B$6</c:f>
              <c:numCache>
                <c:formatCode>#,##0</c:formatCode>
                <c:ptCount val="5"/>
                <c:pt idx="0">
                  <c:v>168</c:v>
                </c:pt>
                <c:pt idx="1">
                  <c:v>184</c:v>
                </c:pt>
                <c:pt idx="2">
                  <c:v>232</c:v>
                </c:pt>
                <c:pt idx="3">
                  <c:v>181</c:v>
                </c:pt>
                <c:pt idx="4">
                  <c:v>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CD-49C9-B141-1F7711B7403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Bondelles</c:v>
                </c:pt>
              </c:strCache>
            </c:strRef>
          </c:tx>
          <c:spPr>
            <a:ln w="28575" cap="rnd">
              <a:solidFill>
                <a:schemeClr val="accent4">
                  <a:tint val="77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tint val="77000"/>
                </a:schemeClr>
              </a:solidFill>
              <a:ln w="9525">
                <a:solidFill>
                  <a:schemeClr val="accent4">
                    <a:tint val="77000"/>
                  </a:schemeClr>
                </a:solidFill>
              </a:ln>
              <a:effectLst/>
            </c:spPr>
          </c:marker>
          <c:cat>
            <c:numRef>
              <c:f>Feuil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Feuil1!$C$2:$C$6</c:f>
              <c:numCache>
                <c:formatCode>#,##0</c:formatCode>
                <c:ptCount val="5"/>
                <c:pt idx="0">
                  <c:v>323</c:v>
                </c:pt>
                <c:pt idx="1">
                  <c:v>377</c:v>
                </c:pt>
                <c:pt idx="2">
                  <c:v>286</c:v>
                </c:pt>
                <c:pt idx="3">
                  <c:v>268</c:v>
                </c:pt>
                <c:pt idx="4">
                  <c:v>2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CD-49C9-B141-1F7711B74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7567440"/>
        <c:axId val="1117566960"/>
      </c:lineChart>
      <c:catAx>
        <c:axId val="111756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6960"/>
        <c:crosses val="autoZero"/>
        <c:auto val="1"/>
        <c:lblAlgn val="ctr"/>
        <c:lblOffset val="100"/>
        <c:noMultiLvlLbl val="0"/>
      </c:catAx>
      <c:valAx>
        <c:axId val="1117566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7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alées</c:v>
                </c:pt>
              </c:strCache>
            </c:strRef>
          </c:tx>
          <c:spPr>
            <a:ln w="28575" cap="rnd">
              <a:solidFill>
                <a:schemeClr val="accent4">
                  <a:shade val="76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shade val="76000"/>
                </a:schemeClr>
              </a:solidFill>
              <a:ln w="9525">
                <a:solidFill>
                  <a:schemeClr val="accent4">
                    <a:shade val="76000"/>
                  </a:schemeClr>
                </a:solidFill>
              </a:ln>
              <a:effectLst/>
            </c:spPr>
          </c:marker>
          <c:cat>
            <c:numRef>
              <c:f>Feuil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Feuil1!$B$2:$B$6</c:f>
              <c:numCache>
                <c:formatCode>#,##0</c:formatCode>
                <c:ptCount val="5"/>
                <c:pt idx="0">
                  <c:v>3.28</c:v>
                </c:pt>
                <c:pt idx="1">
                  <c:v>5.19</c:v>
                </c:pt>
                <c:pt idx="2">
                  <c:v>2.64</c:v>
                </c:pt>
                <c:pt idx="3">
                  <c:v>1.91</c:v>
                </c:pt>
                <c:pt idx="4">
                  <c:v>1.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74-4508-BF17-19631935BE8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Bondelles</c:v>
                </c:pt>
              </c:strCache>
            </c:strRef>
          </c:tx>
          <c:spPr>
            <a:ln w="28575" cap="rnd">
              <a:solidFill>
                <a:schemeClr val="accent4">
                  <a:tint val="77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tint val="77000"/>
                </a:schemeClr>
              </a:solidFill>
              <a:ln w="9525">
                <a:solidFill>
                  <a:schemeClr val="accent4">
                    <a:tint val="77000"/>
                  </a:schemeClr>
                </a:solidFill>
              </a:ln>
              <a:effectLst/>
            </c:spPr>
          </c:marker>
          <c:cat>
            <c:numRef>
              <c:f>Feuil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Feuil1!$C$2:$C$6</c:f>
              <c:numCache>
                <c:formatCode>#,##0</c:formatCode>
                <c:ptCount val="5"/>
                <c:pt idx="0">
                  <c:v>5.1100000000000003</c:v>
                </c:pt>
                <c:pt idx="1">
                  <c:v>3.82</c:v>
                </c:pt>
                <c:pt idx="2">
                  <c:v>2.35</c:v>
                </c:pt>
                <c:pt idx="3">
                  <c:v>2.12</c:v>
                </c:pt>
                <c:pt idx="4">
                  <c:v>1.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A74-4508-BF17-19631935BE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7567440"/>
        <c:axId val="1117566960"/>
      </c:lineChart>
      <c:catAx>
        <c:axId val="111756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6960"/>
        <c:crosses val="autoZero"/>
        <c:auto val="1"/>
        <c:lblAlgn val="ctr"/>
        <c:lblOffset val="100"/>
        <c:noMultiLvlLbl val="0"/>
      </c:catAx>
      <c:valAx>
        <c:axId val="1117566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7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4244</c:v>
                </c:pt>
                <c:pt idx="1">
                  <c:v>3591</c:v>
                </c:pt>
                <c:pt idx="2">
                  <c:v>5620</c:v>
                </c:pt>
                <c:pt idx="3">
                  <c:v>3884</c:v>
                </c:pt>
                <c:pt idx="4">
                  <c:v>3794</c:v>
                </c:pt>
                <c:pt idx="5">
                  <c:v>7477</c:v>
                </c:pt>
                <c:pt idx="6">
                  <c:v>8468</c:v>
                </c:pt>
                <c:pt idx="7">
                  <c:v>7369</c:v>
                </c:pt>
                <c:pt idx="8">
                  <c:v>6574</c:v>
                </c:pt>
                <c:pt idx="9">
                  <c:v>4376</c:v>
                </c:pt>
                <c:pt idx="10">
                  <c:v>5087</c:v>
                </c:pt>
                <c:pt idx="11">
                  <c:v>6806</c:v>
                </c:pt>
                <c:pt idx="12">
                  <c:v>5969</c:v>
                </c:pt>
                <c:pt idx="13">
                  <c:v>4341</c:v>
                </c:pt>
                <c:pt idx="14">
                  <c:v>4361</c:v>
                </c:pt>
                <c:pt idx="15">
                  <c:v>7933</c:v>
                </c:pt>
                <c:pt idx="16">
                  <c:v>8736</c:v>
                </c:pt>
                <c:pt idx="17">
                  <c:v>10688</c:v>
                </c:pt>
                <c:pt idx="18">
                  <c:v>8196</c:v>
                </c:pt>
                <c:pt idx="19">
                  <c:v>6961</c:v>
                </c:pt>
                <c:pt idx="20">
                  <c:v>9635</c:v>
                </c:pt>
                <c:pt idx="21">
                  <c:v>8530</c:v>
                </c:pt>
                <c:pt idx="22">
                  <c:v>10972</c:v>
                </c:pt>
                <c:pt idx="23">
                  <c:v>13183</c:v>
                </c:pt>
                <c:pt idx="24">
                  <c:v>17520</c:v>
                </c:pt>
                <c:pt idx="25">
                  <c:v>8960</c:v>
                </c:pt>
                <c:pt idx="26">
                  <c:v>13353</c:v>
                </c:pt>
                <c:pt idx="27">
                  <c:v>17143</c:v>
                </c:pt>
                <c:pt idx="28">
                  <c:v>6498</c:v>
                </c:pt>
                <c:pt idx="29">
                  <c:v>8070.5</c:v>
                </c:pt>
                <c:pt idx="30">
                  <c:v>12574</c:v>
                </c:pt>
                <c:pt idx="31">
                  <c:v>10439</c:v>
                </c:pt>
                <c:pt idx="32">
                  <c:v>13375.8</c:v>
                </c:pt>
                <c:pt idx="33">
                  <c:v>21008.5</c:v>
                </c:pt>
                <c:pt idx="34">
                  <c:v>16582</c:v>
                </c:pt>
                <c:pt idx="35">
                  <c:v>13169</c:v>
                </c:pt>
                <c:pt idx="36">
                  <c:v>8626</c:v>
                </c:pt>
                <c:pt idx="37">
                  <c:v>2538</c:v>
                </c:pt>
                <c:pt idx="38">
                  <c:v>6111</c:v>
                </c:pt>
                <c:pt idx="39">
                  <c:v>4039.5</c:v>
                </c:pt>
                <c:pt idx="40">
                  <c:v>2359.7000000000003</c:v>
                </c:pt>
                <c:pt idx="41">
                  <c:v>5232</c:v>
                </c:pt>
                <c:pt idx="42">
                  <c:v>8762</c:v>
                </c:pt>
                <c:pt idx="43">
                  <c:v>7479</c:v>
                </c:pt>
                <c:pt idx="44">
                  <c:v>5150</c:v>
                </c:pt>
                <c:pt idx="45">
                  <c:v>5968</c:v>
                </c:pt>
                <c:pt idx="46">
                  <c:v>3074</c:v>
                </c:pt>
                <c:pt idx="47">
                  <c:v>1611</c:v>
                </c:pt>
                <c:pt idx="48">
                  <c:v>1961</c:v>
                </c:pt>
                <c:pt idx="49">
                  <c:v>1060</c:v>
                </c:pt>
                <c:pt idx="50">
                  <c:v>1710</c:v>
                </c:pt>
                <c:pt idx="51">
                  <c:v>1005</c:v>
                </c:pt>
                <c:pt idx="52">
                  <c:v>891</c:v>
                </c:pt>
                <c:pt idx="53">
                  <c:v>1864</c:v>
                </c:pt>
                <c:pt idx="54">
                  <c:v>2346</c:v>
                </c:pt>
                <c:pt idx="55">
                  <c:v>2244.5</c:v>
                </c:pt>
                <c:pt idx="56">
                  <c:v>2801.7</c:v>
                </c:pt>
                <c:pt idx="57">
                  <c:v>3141.6</c:v>
                </c:pt>
                <c:pt idx="58">
                  <c:v>3337</c:v>
                </c:pt>
                <c:pt idx="59">
                  <c:v>3409.05</c:v>
                </c:pt>
                <c:pt idx="60">
                  <c:v>2619.1000000000004</c:v>
                </c:pt>
                <c:pt idx="61">
                  <c:v>2799.5</c:v>
                </c:pt>
                <c:pt idx="62">
                  <c:v>3889.7</c:v>
                </c:pt>
                <c:pt idx="63">
                  <c:v>3145.5</c:v>
                </c:pt>
                <c:pt idx="64">
                  <c:v>2747.8999999999996</c:v>
                </c:pt>
                <c:pt idx="65">
                  <c:v>5244.3</c:v>
                </c:pt>
                <c:pt idx="66">
                  <c:v>3203.4</c:v>
                </c:pt>
                <c:pt idx="67">
                  <c:v>5067.2</c:v>
                </c:pt>
                <c:pt idx="68">
                  <c:v>3441</c:v>
                </c:pt>
                <c:pt idx="69">
                  <c:v>2406</c:v>
                </c:pt>
                <c:pt idx="70">
                  <c:v>3087.2999999999997</c:v>
                </c:pt>
                <c:pt idx="71">
                  <c:v>2816</c:v>
                </c:pt>
                <c:pt idx="72">
                  <c:v>4046</c:v>
                </c:pt>
                <c:pt idx="73">
                  <c:v>1745.2</c:v>
                </c:pt>
                <c:pt idx="74">
                  <c:v>1549.6</c:v>
                </c:pt>
                <c:pt idx="75">
                  <c:v>996.30000000000007</c:v>
                </c:pt>
                <c:pt idx="76">
                  <c:v>921</c:v>
                </c:pt>
                <c:pt idx="77">
                  <c:v>1600</c:v>
                </c:pt>
                <c:pt idx="78">
                  <c:v>2635</c:v>
                </c:pt>
                <c:pt idx="79">
                  <c:v>2312</c:v>
                </c:pt>
                <c:pt idx="80">
                  <c:v>38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1410</c:v>
                </c:pt>
                <c:pt idx="1">
                  <c:v>2306</c:v>
                </c:pt>
                <c:pt idx="2">
                  <c:v>1950</c:v>
                </c:pt>
                <c:pt idx="3">
                  <c:v>2049</c:v>
                </c:pt>
                <c:pt idx="4">
                  <c:v>2266</c:v>
                </c:pt>
                <c:pt idx="5">
                  <c:v>3009</c:v>
                </c:pt>
                <c:pt idx="6">
                  <c:v>2971</c:v>
                </c:pt>
                <c:pt idx="7">
                  <c:v>2710</c:v>
                </c:pt>
                <c:pt idx="8">
                  <c:v>3581</c:v>
                </c:pt>
                <c:pt idx="9">
                  <c:v>2745</c:v>
                </c:pt>
                <c:pt idx="10">
                  <c:v>2545</c:v>
                </c:pt>
                <c:pt idx="11">
                  <c:v>1731</c:v>
                </c:pt>
                <c:pt idx="12">
                  <c:v>2356</c:v>
                </c:pt>
                <c:pt idx="13">
                  <c:v>3049</c:v>
                </c:pt>
                <c:pt idx="14">
                  <c:v>2507</c:v>
                </c:pt>
                <c:pt idx="15">
                  <c:v>3289</c:v>
                </c:pt>
                <c:pt idx="16">
                  <c:v>334</c:v>
                </c:pt>
                <c:pt idx="17">
                  <c:v>3752</c:v>
                </c:pt>
                <c:pt idx="18">
                  <c:v>14809</c:v>
                </c:pt>
                <c:pt idx="19">
                  <c:v>7683</c:v>
                </c:pt>
                <c:pt idx="20">
                  <c:v>5062</c:v>
                </c:pt>
                <c:pt idx="21">
                  <c:v>3479</c:v>
                </c:pt>
                <c:pt idx="22">
                  <c:v>5796</c:v>
                </c:pt>
                <c:pt idx="23">
                  <c:v>4082</c:v>
                </c:pt>
                <c:pt idx="24">
                  <c:v>3828</c:v>
                </c:pt>
                <c:pt idx="25">
                  <c:v>4406</c:v>
                </c:pt>
                <c:pt idx="26">
                  <c:v>5004</c:v>
                </c:pt>
                <c:pt idx="27">
                  <c:v>3437</c:v>
                </c:pt>
                <c:pt idx="28">
                  <c:v>2664</c:v>
                </c:pt>
                <c:pt idx="29">
                  <c:v>2191.5</c:v>
                </c:pt>
                <c:pt idx="30">
                  <c:v>3718</c:v>
                </c:pt>
                <c:pt idx="31">
                  <c:v>3651</c:v>
                </c:pt>
                <c:pt idx="32">
                  <c:v>2513.2000000000007</c:v>
                </c:pt>
                <c:pt idx="33">
                  <c:v>5611.5</c:v>
                </c:pt>
                <c:pt idx="34">
                  <c:v>3541</c:v>
                </c:pt>
                <c:pt idx="35">
                  <c:v>4806</c:v>
                </c:pt>
                <c:pt idx="36">
                  <c:v>3832</c:v>
                </c:pt>
                <c:pt idx="37">
                  <c:v>3140</c:v>
                </c:pt>
                <c:pt idx="38">
                  <c:v>2744</c:v>
                </c:pt>
                <c:pt idx="39">
                  <c:v>2183.5</c:v>
                </c:pt>
                <c:pt idx="40">
                  <c:v>4495.2999999999993</c:v>
                </c:pt>
                <c:pt idx="41">
                  <c:v>4319</c:v>
                </c:pt>
                <c:pt idx="42">
                  <c:v>4322</c:v>
                </c:pt>
                <c:pt idx="43">
                  <c:v>3375</c:v>
                </c:pt>
                <c:pt idx="44">
                  <c:v>3085</c:v>
                </c:pt>
                <c:pt idx="45">
                  <c:v>3567</c:v>
                </c:pt>
                <c:pt idx="46">
                  <c:v>2329</c:v>
                </c:pt>
                <c:pt idx="47">
                  <c:v>2025</c:v>
                </c:pt>
                <c:pt idx="48">
                  <c:v>857</c:v>
                </c:pt>
                <c:pt idx="49">
                  <c:v>712</c:v>
                </c:pt>
                <c:pt idx="50">
                  <c:v>1149</c:v>
                </c:pt>
                <c:pt idx="51">
                  <c:v>613</c:v>
                </c:pt>
                <c:pt idx="52">
                  <c:v>1060</c:v>
                </c:pt>
                <c:pt idx="53">
                  <c:v>1261</c:v>
                </c:pt>
                <c:pt idx="54">
                  <c:v>1286</c:v>
                </c:pt>
                <c:pt idx="55">
                  <c:v>1568.5</c:v>
                </c:pt>
                <c:pt idx="56">
                  <c:v>1891.3000000000002</c:v>
                </c:pt>
                <c:pt idx="57">
                  <c:v>1772.4</c:v>
                </c:pt>
                <c:pt idx="58">
                  <c:v>1226</c:v>
                </c:pt>
                <c:pt idx="59">
                  <c:v>1804.9499999999998</c:v>
                </c:pt>
                <c:pt idx="60">
                  <c:v>503.89999999999964</c:v>
                </c:pt>
                <c:pt idx="61">
                  <c:v>2378.5</c:v>
                </c:pt>
                <c:pt idx="62">
                  <c:v>3007</c:v>
                </c:pt>
                <c:pt idx="63">
                  <c:v>1588</c:v>
                </c:pt>
                <c:pt idx="64">
                  <c:v>2426</c:v>
                </c:pt>
                <c:pt idx="65">
                  <c:v>1650</c:v>
                </c:pt>
                <c:pt idx="66">
                  <c:v>3783</c:v>
                </c:pt>
                <c:pt idx="67">
                  <c:v>2750</c:v>
                </c:pt>
                <c:pt idx="68">
                  <c:v>2205</c:v>
                </c:pt>
                <c:pt idx="69">
                  <c:v>1384</c:v>
                </c:pt>
                <c:pt idx="70">
                  <c:v>1691</c:v>
                </c:pt>
                <c:pt idx="71">
                  <c:v>2190</c:v>
                </c:pt>
                <c:pt idx="72">
                  <c:v>1526</c:v>
                </c:pt>
                <c:pt idx="73">
                  <c:v>907.5</c:v>
                </c:pt>
                <c:pt idx="74">
                  <c:v>873</c:v>
                </c:pt>
                <c:pt idx="75">
                  <c:v>543</c:v>
                </c:pt>
                <c:pt idx="76">
                  <c:v>852</c:v>
                </c:pt>
                <c:pt idx="77">
                  <c:v>706</c:v>
                </c:pt>
                <c:pt idx="78">
                  <c:v>493</c:v>
                </c:pt>
                <c:pt idx="79">
                  <c:v>684</c:v>
                </c:pt>
                <c:pt idx="80">
                  <c:v>963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0.10090408401488969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683</c:v>
                </c:pt>
                <c:pt idx="1">
                  <c:v>1416</c:v>
                </c:pt>
                <c:pt idx="2">
                  <c:v>1376</c:v>
                </c:pt>
                <c:pt idx="3">
                  <c:v>848</c:v>
                </c:pt>
                <c:pt idx="4">
                  <c:v>475</c:v>
                </c:pt>
                <c:pt idx="5">
                  <c:v>247</c:v>
                </c:pt>
                <c:pt idx="6">
                  <c:v>219</c:v>
                </c:pt>
                <c:pt idx="7">
                  <c:v>115</c:v>
                </c:pt>
                <c:pt idx="8">
                  <c:v>515</c:v>
                </c:pt>
                <c:pt idx="9">
                  <c:v>573</c:v>
                </c:pt>
                <c:pt idx="10">
                  <c:v>287</c:v>
                </c:pt>
                <c:pt idx="11">
                  <c:v>120</c:v>
                </c:pt>
                <c:pt idx="12">
                  <c:v>131</c:v>
                </c:pt>
                <c:pt idx="13">
                  <c:v>381</c:v>
                </c:pt>
                <c:pt idx="14">
                  <c:v>367</c:v>
                </c:pt>
                <c:pt idx="15">
                  <c:v>699</c:v>
                </c:pt>
                <c:pt idx="16">
                  <c:v>58</c:v>
                </c:pt>
                <c:pt idx="17">
                  <c:v>1531</c:v>
                </c:pt>
                <c:pt idx="18">
                  <c:v>528</c:v>
                </c:pt>
                <c:pt idx="19">
                  <c:v>4</c:v>
                </c:pt>
                <c:pt idx="20">
                  <c:v>46</c:v>
                </c:pt>
                <c:pt idx="21">
                  <c:v>11</c:v>
                </c:pt>
                <c:pt idx="22">
                  <c:v>44</c:v>
                </c:pt>
                <c:pt idx="23">
                  <c:v>15</c:v>
                </c:pt>
                <c:pt idx="24">
                  <c:v>13</c:v>
                </c:pt>
                <c:pt idx="25">
                  <c:v>6</c:v>
                </c:pt>
                <c:pt idx="26">
                  <c:v>0</c:v>
                </c:pt>
                <c:pt idx="27">
                  <c:v>4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0</c:v>
                </c:pt>
                <c:pt idx="33">
                  <c:v>59</c:v>
                </c:pt>
                <c:pt idx="34">
                  <c:v>93</c:v>
                </c:pt>
                <c:pt idx="35">
                  <c:v>0</c:v>
                </c:pt>
                <c:pt idx="36">
                  <c:v>53.5</c:v>
                </c:pt>
                <c:pt idx="37">
                  <c:v>1295</c:v>
                </c:pt>
                <c:pt idx="38">
                  <c:v>1044</c:v>
                </c:pt>
                <c:pt idx="39">
                  <c:v>1491.8</c:v>
                </c:pt>
                <c:pt idx="40">
                  <c:v>1618.8</c:v>
                </c:pt>
                <c:pt idx="41">
                  <c:v>2170</c:v>
                </c:pt>
                <c:pt idx="42">
                  <c:v>4042</c:v>
                </c:pt>
                <c:pt idx="43">
                  <c:v>2652</c:v>
                </c:pt>
                <c:pt idx="44">
                  <c:v>1856</c:v>
                </c:pt>
                <c:pt idx="45">
                  <c:v>1386</c:v>
                </c:pt>
                <c:pt idx="46">
                  <c:v>1118</c:v>
                </c:pt>
                <c:pt idx="47">
                  <c:v>1475</c:v>
                </c:pt>
                <c:pt idx="48">
                  <c:v>1976</c:v>
                </c:pt>
                <c:pt idx="49">
                  <c:v>1827</c:v>
                </c:pt>
                <c:pt idx="50">
                  <c:v>1357</c:v>
                </c:pt>
                <c:pt idx="51">
                  <c:v>762</c:v>
                </c:pt>
                <c:pt idx="52">
                  <c:v>823</c:v>
                </c:pt>
                <c:pt idx="53">
                  <c:v>664</c:v>
                </c:pt>
                <c:pt idx="54">
                  <c:v>1547</c:v>
                </c:pt>
                <c:pt idx="55">
                  <c:v>843.15</c:v>
                </c:pt>
                <c:pt idx="56">
                  <c:v>1241.1999999999998</c:v>
                </c:pt>
                <c:pt idx="57">
                  <c:v>998.35</c:v>
                </c:pt>
                <c:pt idx="58">
                  <c:v>1277</c:v>
                </c:pt>
                <c:pt idx="59">
                  <c:v>1790.7</c:v>
                </c:pt>
                <c:pt idx="60">
                  <c:v>2584.25</c:v>
                </c:pt>
                <c:pt idx="61">
                  <c:v>667.89999999999986</c:v>
                </c:pt>
                <c:pt idx="62">
                  <c:v>650.29999999999995</c:v>
                </c:pt>
                <c:pt idx="63">
                  <c:v>715.7</c:v>
                </c:pt>
                <c:pt idx="64">
                  <c:v>536.5</c:v>
                </c:pt>
                <c:pt idx="65">
                  <c:v>1080.7</c:v>
                </c:pt>
                <c:pt idx="66">
                  <c:v>383.6</c:v>
                </c:pt>
                <c:pt idx="67">
                  <c:v>326.10000000000002</c:v>
                </c:pt>
                <c:pt idx="68">
                  <c:v>43.199999999999996</c:v>
                </c:pt>
                <c:pt idx="69">
                  <c:v>595</c:v>
                </c:pt>
                <c:pt idx="70">
                  <c:v>398.5</c:v>
                </c:pt>
                <c:pt idx="71">
                  <c:v>454</c:v>
                </c:pt>
                <c:pt idx="72">
                  <c:v>221</c:v>
                </c:pt>
                <c:pt idx="73">
                  <c:v>170.8</c:v>
                </c:pt>
                <c:pt idx="74">
                  <c:v>163.69999999999999</c:v>
                </c:pt>
                <c:pt idx="75">
                  <c:v>87.5</c:v>
                </c:pt>
                <c:pt idx="76">
                  <c:v>30</c:v>
                </c:pt>
                <c:pt idx="77">
                  <c:v>29</c:v>
                </c:pt>
                <c:pt idx="78">
                  <c:v>30</c:v>
                </c:pt>
                <c:pt idx="79">
                  <c:v>6</c:v>
                </c:pt>
                <c:pt idx="8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0</c:v>
                </c:pt>
                <c:pt idx="1">
                  <c:v>0</c:v>
                </c:pt>
                <c:pt idx="2">
                  <c:v>98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6</c:v>
                </c:pt>
                <c:pt idx="29">
                  <c:v>0</c:v>
                </c:pt>
                <c:pt idx="30">
                  <c:v>11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.20000000000004547</c:v>
                </c:pt>
                <c:pt idx="40">
                  <c:v>12.200000000000045</c:v>
                </c:pt>
                <c:pt idx="41">
                  <c:v>364</c:v>
                </c:pt>
                <c:pt idx="42">
                  <c:v>433</c:v>
                </c:pt>
                <c:pt idx="43">
                  <c:v>354</c:v>
                </c:pt>
                <c:pt idx="44">
                  <c:v>240</c:v>
                </c:pt>
                <c:pt idx="45">
                  <c:v>506</c:v>
                </c:pt>
                <c:pt idx="46">
                  <c:v>467</c:v>
                </c:pt>
                <c:pt idx="47">
                  <c:v>215</c:v>
                </c:pt>
                <c:pt idx="48">
                  <c:v>103</c:v>
                </c:pt>
                <c:pt idx="49">
                  <c:v>272</c:v>
                </c:pt>
                <c:pt idx="50">
                  <c:v>430</c:v>
                </c:pt>
                <c:pt idx="51">
                  <c:v>747</c:v>
                </c:pt>
                <c:pt idx="52">
                  <c:v>920</c:v>
                </c:pt>
                <c:pt idx="53">
                  <c:v>569</c:v>
                </c:pt>
                <c:pt idx="54">
                  <c:v>388</c:v>
                </c:pt>
                <c:pt idx="55">
                  <c:v>463.85</c:v>
                </c:pt>
                <c:pt idx="56">
                  <c:v>428.80000000000018</c:v>
                </c:pt>
                <c:pt idx="57">
                  <c:v>371.65</c:v>
                </c:pt>
                <c:pt idx="58">
                  <c:v>431</c:v>
                </c:pt>
                <c:pt idx="59">
                  <c:v>756.3</c:v>
                </c:pt>
                <c:pt idx="60">
                  <c:v>435.75</c:v>
                </c:pt>
                <c:pt idx="61">
                  <c:v>400.10000000000014</c:v>
                </c:pt>
                <c:pt idx="62">
                  <c:v>403</c:v>
                </c:pt>
                <c:pt idx="63">
                  <c:v>245</c:v>
                </c:pt>
                <c:pt idx="64">
                  <c:v>147</c:v>
                </c:pt>
                <c:pt idx="65">
                  <c:v>138</c:v>
                </c:pt>
                <c:pt idx="66">
                  <c:v>149</c:v>
                </c:pt>
                <c:pt idx="67">
                  <c:v>226</c:v>
                </c:pt>
                <c:pt idx="68">
                  <c:v>40</c:v>
                </c:pt>
                <c:pt idx="69">
                  <c:v>17</c:v>
                </c:pt>
                <c:pt idx="70">
                  <c:v>49</c:v>
                </c:pt>
                <c:pt idx="71">
                  <c:v>116</c:v>
                </c:pt>
                <c:pt idx="72">
                  <c:v>80</c:v>
                </c:pt>
                <c:pt idx="73">
                  <c:v>26.78</c:v>
                </c:pt>
                <c:pt idx="74">
                  <c:v>14</c:v>
                </c:pt>
                <c:pt idx="75">
                  <c:v>8</c:v>
                </c:pt>
                <c:pt idx="76">
                  <c:v>30</c:v>
                </c:pt>
                <c:pt idx="77">
                  <c:v>31</c:v>
                </c:pt>
                <c:pt idx="78">
                  <c:v>0</c:v>
                </c:pt>
                <c:pt idx="79">
                  <c:v>10</c:v>
                </c:pt>
                <c:pt idx="8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3.450699807225068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7012</c:v>
                </c:pt>
                <c:pt idx="1">
                  <c:v>6421</c:v>
                </c:pt>
                <c:pt idx="2">
                  <c:v>4710</c:v>
                </c:pt>
                <c:pt idx="3">
                  <c:v>11921</c:v>
                </c:pt>
                <c:pt idx="4">
                  <c:v>3745</c:v>
                </c:pt>
                <c:pt idx="5">
                  <c:v>4136</c:v>
                </c:pt>
                <c:pt idx="6">
                  <c:v>3902</c:v>
                </c:pt>
                <c:pt idx="7">
                  <c:v>10212</c:v>
                </c:pt>
                <c:pt idx="8">
                  <c:v>6383</c:v>
                </c:pt>
                <c:pt idx="9">
                  <c:v>4310</c:v>
                </c:pt>
                <c:pt idx="10">
                  <c:v>6795</c:v>
                </c:pt>
                <c:pt idx="11">
                  <c:v>3972</c:v>
                </c:pt>
                <c:pt idx="12">
                  <c:v>3403</c:v>
                </c:pt>
                <c:pt idx="13">
                  <c:v>7290</c:v>
                </c:pt>
                <c:pt idx="14">
                  <c:v>4105</c:v>
                </c:pt>
                <c:pt idx="15">
                  <c:v>3518</c:v>
                </c:pt>
                <c:pt idx="16">
                  <c:v>4204</c:v>
                </c:pt>
                <c:pt idx="17">
                  <c:v>7011</c:v>
                </c:pt>
                <c:pt idx="18">
                  <c:v>4877</c:v>
                </c:pt>
                <c:pt idx="19">
                  <c:v>6692</c:v>
                </c:pt>
                <c:pt idx="20">
                  <c:v>5205</c:v>
                </c:pt>
                <c:pt idx="21">
                  <c:v>13033</c:v>
                </c:pt>
                <c:pt idx="22">
                  <c:v>5312</c:v>
                </c:pt>
                <c:pt idx="23">
                  <c:v>10199</c:v>
                </c:pt>
                <c:pt idx="24">
                  <c:v>11351</c:v>
                </c:pt>
                <c:pt idx="25">
                  <c:v>5631</c:v>
                </c:pt>
                <c:pt idx="26">
                  <c:v>4741</c:v>
                </c:pt>
                <c:pt idx="27">
                  <c:v>4477</c:v>
                </c:pt>
                <c:pt idx="28">
                  <c:v>6122</c:v>
                </c:pt>
                <c:pt idx="29">
                  <c:v>6582</c:v>
                </c:pt>
                <c:pt idx="30">
                  <c:v>5459</c:v>
                </c:pt>
                <c:pt idx="31">
                  <c:v>4226</c:v>
                </c:pt>
                <c:pt idx="32">
                  <c:v>3179</c:v>
                </c:pt>
                <c:pt idx="33">
                  <c:v>4710</c:v>
                </c:pt>
                <c:pt idx="34">
                  <c:v>6086</c:v>
                </c:pt>
                <c:pt idx="35">
                  <c:v>3550</c:v>
                </c:pt>
                <c:pt idx="36">
                  <c:v>3219.3</c:v>
                </c:pt>
                <c:pt idx="37">
                  <c:v>3359</c:v>
                </c:pt>
                <c:pt idx="38">
                  <c:v>1877</c:v>
                </c:pt>
                <c:pt idx="39">
                  <c:v>5057.6000000000004</c:v>
                </c:pt>
                <c:pt idx="40">
                  <c:v>5154.1000000000004</c:v>
                </c:pt>
                <c:pt idx="41">
                  <c:v>5180</c:v>
                </c:pt>
                <c:pt idx="42">
                  <c:v>3750</c:v>
                </c:pt>
                <c:pt idx="43">
                  <c:v>6674</c:v>
                </c:pt>
                <c:pt idx="44">
                  <c:v>4126</c:v>
                </c:pt>
                <c:pt idx="45">
                  <c:v>5388</c:v>
                </c:pt>
                <c:pt idx="46">
                  <c:v>5360</c:v>
                </c:pt>
                <c:pt idx="47">
                  <c:v>3749</c:v>
                </c:pt>
                <c:pt idx="48">
                  <c:v>4226</c:v>
                </c:pt>
                <c:pt idx="49">
                  <c:v>4849</c:v>
                </c:pt>
                <c:pt idx="50">
                  <c:v>7879</c:v>
                </c:pt>
                <c:pt idx="51">
                  <c:v>7189</c:v>
                </c:pt>
                <c:pt idx="52">
                  <c:v>8527</c:v>
                </c:pt>
                <c:pt idx="53">
                  <c:v>5408</c:v>
                </c:pt>
                <c:pt idx="54">
                  <c:v>6137</c:v>
                </c:pt>
                <c:pt idx="55">
                  <c:v>5025.8</c:v>
                </c:pt>
                <c:pt idx="56">
                  <c:v>7755</c:v>
                </c:pt>
                <c:pt idx="57">
                  <c:v>7767.6</c:v>
                </c:pt>
                <c:pt idx="58">
                  <c:v>6136.4000000000005</c:v>
                </c:pt>
                <c:pt idx="59">
                  <c:v>9305.1999999999989</c:v>
                </c:pt>
                <c:pt idx="60">
                  <c:v>6923.1499999999987</c:v>
                </c:pt>
                <c:pt idx="61">
                  <c:v>8200.7000000000007</c:v>
                </c:pt>
                <c:pt idx="62">
                  <c:v>5320.7999999999993</c:v>
                </c:pt>
                <c:pt idx="63">
                  <c:v>8337.7999999999993</c:v>
                </c:pt>
                <c:pt idx="64">
                  <c:v>8808.2000000000007</c:v>
                </c:pt>
                <c:pt idx="65">
                  <c:v>7169.6</c:v>
                </c:pt>
                <c:pt idx="66">
                  <c:v>9510.0000000000018</c:v>
                </c:pt>
                <c:pt idx="67">
                  <c:v>9029.1999999999989</c:v>
                </c:pt>
                <c:pt idx="68">
                  <c:v>10250.9</c:v>
                </c:pt>
                <c:pt idx="69">
                  <c:v>12115</c:v>
                </c:pt>
                <c:pt idx="70">
                  <c:v>12151.9</c:v>
                </c:pt>
                <c:pt idx="71">
                  <c:v>19294</c:v>
                </c:pt>
                <c:pt idx="72">
                  <c:v>11433</c:v>
                </c:pt>
                <c:pt idx="73">
                  <c:v>13110.1</c:v>
                </c:pt>
                <c:pt idx="74">
                  <c:v>13739.800000000001</c:v>
                </c:pt>
                <c:pt idx="75">
                  <c:v>10298.600000000002</c:v>
                </c:pt>
                <c:pt idx="76">
                  <c:v>7952.24</c:v>
                </c:pt>
                <c:pt idx="77">
                  <c:v>7429</c:v>
                </c:pt>
                <c:pt idx="78">
                  <c:v>11407</c:v>
                </c:pt>
                <c:pt idx="79">
                  <c:v>15681</c:v>
                </c:pt>
                <c:pt idx="80">
                  <c:v>125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1728</c:v>
                </c:pt>
                <c:pt idx="1">
                  <c:v>3530</c:v>
                </c:pt>
                <c:pt idx="2">
                  <c:v>4215</c:v>
                </c:pt>
                <c:pt idx="3">
                  <c:v>2404</c:v>
                </c:pt>
                <c:pt idx="4">
                  <c:v>3639</c:v>
                </c:pt>
                <c:pt idx="5">
                  <c:v>3245</c:v>
                </c:pt>
                <c:pt idx="6">
                  <c:v>2152</c:v>
                </c:pt>
                <c:pt idx="7">
                  <c:v>2697</c:v>
                </c:pt>
                <c:pt idx="8">
                  <c:v>4811</c:v>
                </c:pt>
                <c:pt idx="9">
                  <c:v>4625</c:v>
                </c:pt>
                <c:pt idx="10">
                  <c:v>2601</c:v>
                </c:pt>
                <c:pt idx="11">
                  <c:v>1554</c:v>
                </c:pt>
                <c:pt idx="12">
                  <c:v>1650</c:v>
                </c:pt>
                <c:pt idx="13">
                  <c:v>1533</c:v>
                </c:pt>
                <c:pt idx="14">
                  <c:v>1731</c:v>
                </c:pt>
                <c:pt idx="15">
                  <c:v>3691</c:v>
                </c:pt>
                <c:pt idx="16">
                  <c:v>99</c:v>
                </c:pt>
                <c:pt idx="17">
                  <c:v>1485</c:v>
                </c:pt>
                <c:pt idx="18">
                  <c:v>1519</c:v>
                </c:pt>
                <c:pt idx="19">
                  <c:v>2319</c:v>
                </c:pt>
                <c:pt idx="20">
                  <c:v>5900</c:v>
                </c:pt>
                <c:pt idx="21">
                  <c:v>697</c:v>
                </c:pt>
                <c:pt idx="22">
                  <c:v>4294</c:v>
                </c:pt>
                <c:pt idx="23">
                  <c:v>3680</c:v>
                </c:pt>
                <c:pt idx="24">
                  <c:v>716</c:v>
                </c:pt>
                <c:pt idx="25">
                  <c:v>966</c:v>
                </c:pt>
                <c:pt idx="26">
                  <c:v>1788</c:v>
                </c:pt>
                <c:pt idx="27">
                  <c:v>3037</c:v>
                </c:pt>
                <c:pt idx="28">
                  <c:v>2448</c:v>
                </c:pt>
                <c:pt idx="29">
                  <c:v>1250</c:v>
                </c:pt>
                <c:pt idx="30">
                  <c:v>1217</c:v>
                </c:pt>
                <c:pt idx="31">
                  <c:v>673</c:v>
                </c:pt>
                <c:pt idx="32">
                  <c:v>1188</c:v>
                </c:pt>
                <c:pt idx="33">
                  <c:v>444</c:v>
                </c:pt>
                <c:pt idx="34">
                  <c:v>296</c:v>
                </c:pt>
                <c:pt idx="35">
                  <c:v>838</c:v>
                </c:pt>
                <c:pt idx="36">
                  <c:v>1253.6999999999998</c:v>
                </c:pt>
                <c:pt idx="37">
                  <c:v>689</c:v>
                </c:pt>
                <c:pt idx="38">
                  <c:v>1094</c:v>
                </c:pt>
                <c:pt idx="39">
                  <c:v>2175.3999999999996</c:v>
                </c:pt>
                <c:pt idx="40">
                  <c:v>2686.8999999999996</c:v>
                </c:pt>
                <c:pt idx="41">
                  <c:v>818</c:v>
                </c:pt>
                <c:pt idx="42">
                  <c:v>2035</c:v>
                </c:pt>
                <c:pt idx="43">
                  <c:v>2541</c:v>
                </c:pt>
                <c:pt idx="44">
                  <c:v>3118</c:v>
                </c:pt>
                <c:pt idx="45">
                  <c:v>2683</c:v>
                </c:pt>
                <c:pt idx="46">
                  <c:v>2433</c:v>
                </c:pt>
                <c:pt idx="47">
                  <c:v>2449</c:v>
                </c:pt>
                <c:pt idx="48">
                  <c:v>4401</c:v>
                </c:pt>
                <c:pt idx="49">
                  <c:v>5414</c:v>
                </c:pt>
                <c:pt idx="50">
                  <c:v>5760</c:v>
                </c:pt>
                <c:pt idx="51">
                  <c:v>6921</c:v>
                </c:pt>
                <c:pt idx="52">
                  <c:v>5906</c:v>
                </c:pt>
                <c:pt idx="53">
                  <c:v>5255</c:v>
                </c:pt>
                <c:pt idx="54">
                  <c:v>4373</c:v>
                </c:pt>
                <c:pt idx="55">
                  <c:v>8247.2000000000007</c:v>
                </c:pt>
                <c:pt idx="56">
                  <c:v>9180</c:v>
                </c:pt>
                <c:pt idx="57">
                  <c:v>10495.4</c:v>
                </c:pt>
                <c:pt idx="58">
                  <c:v>11883.599999999999</c:v>
                </c:pt>
                <c:pt idx="59">
                  <c:v>13497.800000000001</c:v>
                </c:pt>
                <c:pt idx="60">
                  <c:v>11530.850000000002</c:v>
                </c:pt>
                <c:pt idx="61">
                  <c:v>15102.3</c:v>
                </c:pt>
                <c:pt idx="62">
                  <c:v>14259</c:v>
                </c:pt>
                <c:pt idx="63">
                  <c:v>14377</c:v>
                </c:pt>
                <c:pt idx="64">
                  <c:v>13720</c:v>
                </c:pt>
                <c:pt idx="65">
                  <c:v>12147</c:v>
                </c:pt>
                <c:pt idx="66">
                  <c:v>13818</c:v>
                </c:pt>
                <c:pt idx="67">
                  <c:v>9541</c:v>
                </c:pt>
                <c:pt idx="68">
                  <c:v>11686</c:v>
                </c:pt>
                <c:pt idx="69">
                  <c:v>11912</c:v>
                </c:pt>
                <c:pt idx="70">
                  <c:v>12967</c:v>
                </c:pt>
                <c:pt idx="71">
                  <c:v>17225</c:v>
                </c:pt>
                <c:pt idx="72">
                  <c:v>16210</c:v>
                </c:pt>
                <c:pt idx="73">
                  <c:v>12742.890000000003</c:v>
                </c:pt>
                <c:pt idx="74">
                  <c:v>9257</c:v>
                </c:pt>
                <c:pt idx="75">
                  <c:v>8310</c:v>
                </c:pt>
                <c:pt idx="76">
                  <c:v>7249</c:v>
                </c:pt>
                <c:pt idx="77">
                  <c:v>9837</c:v>
                </c:pt>
                <c:pt idx="78">
                  <c:v>12125</c:v>
                </c:pt>
                <c:pt idx="79">
                  <c:v>10118</c:v>
                </c:pt>
                <c:pt idx="80">
                  <c:v>9108.43239999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276245534252603"/>
          <c:y val="7.072359040459923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4">
                  <a:shade val="76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shade val="76000"/>
                </a:schemeClr>
              </a:solidFill>
              <a:ln w="9525">
                <a:solidFill>
                  <a:schemeClr val="accent4">
                    <a:shade val="76000"/>
                  </a:schemeClr>
                </a:solidFill>
              </a:ln>
              <a:effectLst/>
            </c:spPr>
          </c:marker>
          <c:cat>
            <c:numRef>
              <c:f>Feuil1!$A$2:$A$46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</c:numRef>
          </c:cat>
          <c:val>
            <c:numRef>
              <c:f>Feuil1!$B$2:$B$46</c:f>
              <c:numCache>
                <c:formatCode>#,##0</c:formatCode>
                <c:ptCount val="45"/>
                <c:pt idx="0">
                  <c:v>76</c:v>
                </c:pt>
                <c:pt idx="1">
                  <c:v>70</c:v>
                </c:pt>
                <c:pt idx="2">
                  <c:v>65</c:v>
                </c:pt>
                <c:pt idx="3">
                  <c:v>63</c:v>
                </c:pt>
                <c:pt idx="4">
                  <c:v>62</c:v>
                </c:pt>
                <c:pt idx="5">
                  <c:v>58</c:v>
                </c:pt>
                <c:pt idx="6">
                  <c:v>58</c:v>
                </c:pt>
                <c:pt idx="7">
                  <c:v>55</c:v>
                </c:pt>
                <c:pt idx="8">
                  <c:v>59</c:v>
                </c:pt>
                <c:pt idx="9">
                  <c:v>58</c:v>
                </c:pt>
                <c:pt idx="10">
                  <c:v>56</c:v>
                </c:pt>
                <c:pt idx="11">
                  <c:v>56</c:v>
                </c:pt>
                <c:pt idx="12">
                  <c:v>53</c:v>
                </c:pt>
                <c:pt idx="13">
                  <c:v>49</c:v>
                </c:pt>
                <c:pt idx="14">
                  <c:v>45</c:v>
                </c:pt>
                <c:pt idx="15">
                  <c:v>45</c:v>
                </c:pt>
                <c:pt idx="16">
                  <c:v>44</c:v>
                </c:pt>
                <c:pt idx="17">
                  <c:v>48</c:v>
                </c:pt>
                <c:pt idx="18">
                  <c:v>39</c:v>
                </c:pt>
                <c:pt idx="19">
                  <c:v>42</c:v>
                </c:pt>
                <c:pt idx="20">
                  <c:v>40</c:v>
                </c:pt>
                <c:pt idx="21">
                  <c:v>35</c:v>
                </c:pt>
                <c:pt idx="22">
                  <c:v>40</c:v>
                </c:pt>
                <c:pt idx="23">
                  <c:v>41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39</c:v>
                </c:pt>
                <c:pt idx="29">
                  <c:v>43</c:v>
                </c:pt>
                <c:pt idx="30">
                  <c:v>37</c:v>
                </c:pt>
                <c:pt idx="31">
                  <c:v>37</c:v>
                </c:pt>
                <c:pt idx="32">
                  <c:v>34</c:v>
                </c:pt>
                <c:pt idx="33">
                  <c:v>33</c:v>
                </c:pt>
                <c:pt idx="34">
                  <c:v>33</c:v>
                </c:pt>
                <c:pt idx="35">
                  <c:v>31</c:v>
                </c:pt>
                <c:pt idx="36">
                  <c:v>29</c:v>
                </c:pt>
                <c:pt idx="37">
                  <c:v>30</c:v>
                </c:pt>
                <c:pt idx="38">
                  <c:v>28</c:v>
                </c:pt>
                <c:pt idx="39">
                  <c:v>29</c:v>
                </c:pt>
                <c:pt idx="40">
                  <c:v>29</c:v>
                </c:pt>
                <c:pt idx="41">
                  <c:v>30</c:v>
                </c:pt>
                <c:pt idx="42">
                  <c:v>29</c:v>
                </c:pt>
                <c:pt idx="43">
                  <c:v>29</c:v>
                </c:pt>
                <c:pt idx="44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CD-49C9-B141-1F7711B7403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4">
                  <a:tint val="77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tint val="77000"/>
                </a:schemeClr>
              </a:solidFill>
              <a:ln w="9525">
                <a:solidFill>
                  <a:schemeClr val="accent4">
                    <a:tint val="77000"/>
                  </a:schemeClr>
                </a:solidFill>
              </a:ln>
              <a:effectLst/>
            </c:spPr>
          </c:marker>
          <c:cat>
            <c:numRef>
              <c:f>Feuil1!$A$2:$A$46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</c:numRef>
          </c:cat>
          <c:val>
            <c:numRef>
              <c:f>Feuil1!$C$2:$C$46</c:f>
              <c:numCache>
                <c:formatCode>#,##0</c:formatCode>
                <c:ptCount val="45"/>
                <c:pt idx="0">
                  <c:v>6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3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CD-49C9-B141-1F7711B74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7567440"/>
        <c:axId val="1117566960"/>
      </c:lineChart>
      <c:catAx>
        <c:axId val="111756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6960"/>
        <c:crosses val="autoZero"/>
        <c:auto val="1"/>
        <c:lblAlgn val="ctr"/>
        <c:lblOffset val="100"/>
        <c:noMultiLvlLbl val="0"/>
      </c:catAx>
      <c:valAx>
        <c:axId val="111756696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17567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62484</c:v>
                </c:pt>
                <c:pt idx="1">
                  <c:v>106041</c:v>
                </c:pt>
                <c:pt idx="2">
                  <c:v>60614</c:v>
                </c:pt>
                <c:pt idx="3">
                  <c:v>44656</c:v>
                </c:pt>
                <c:pt idx="4">
                  <c:v>36185</c:v>
                </c:pt>
                <c:pt idx="5">
                  <c:v>42133</c:v>
                </c:pt>
                <c:pt idx="6">
                  <c:v>40154</c:v>
                </c:pt>
                <c:pt idx="7">
                  <c:v>45056</c:v>
                </c:pt>
                <c:pt idx="8">
                  <c:v>53010</c:v>
                </c:pt>
                <c:pt idx="9">
                  <c:v>52127</c:v>
                </c:pt>
                <c:pt idx="10">
                  <c:v>38003</c:v>
                </c:pt>
                <c:pt idx="11">
                  <c:v>43424</c:v>
                </c:pt>
                <c:pt idx="12">
                  <c:v>33529</c:v>
                </c:pt>
                <c:pt idx="13">
                  <c:v>52483</c:v>
                </c:pt>
                <c:pt idx="14">
                  <c:v>78568</c:v>
                </c:pt>
                <c:pt idx="15">
                  <c:v>83066</c:v>
                </c:pt>
                <c:pt idx="16">
                  <c:v>98795</c:v>
                </c:pt>
                <c:pt idx="17">
                  <c:v>49883</c:v>
                </c:pt>
                <c:pt idx="18">
                  <c:v>55739</c:v>
                </c:pt>
                <c:pt idx="19">
                  <c:v>223686</c:v>
                </c:pt>
                <c:pt idx="20">
                  <c:v>297288</c:v>
                </c:pt>
                <c:pt idx="21">
                  <c:v>74963</c:v>
                </c:pt>
                <c:pt idx="22">
                  <c:v>56914</c:v>
                </c:pt>
                <c:pt idx="23">
                  <c:v>158845</c:v>
                </c:pt>
                <c:pt idx="24">
                  <c:v>24616</c:v>
                </c:pt>
                <c:pt idx="25">
                  <c:v>82320</c:v>
                </c:pt>
                <c:pt idx="26">
                  <c:v>257901</c:v>
                </c:pt>
                <c:pt idx="27">
                  <c:v>26544</c:v>
                </c:pt>
                <c:pt idx="28">
                  <c:v>53022</c:v>
                </c:pt>
                <c:pt idx="29">
                  <c:v>216867</c:v>
                </c:pt>
                <c:pt idx="30">
                  <c:v>46437</c:v>
                </c:pt>
                <c:pt idx="31">
                  <c:v>54697</c:v>
                </c:pt>
                <c:pt idx="32">
                  <c:v>211842</c:v>
                </c:pt>
                <c:pt idx="33">
                  <c:v>42889.1</c:v>
                </c:pt>
                <c:pt idx="34">
                  <c:v>155360</c:v>
                </c:pt>
                <c:pt idx="35">
                  <c:v>90133</c:v>
                </c:pt>
                <c:pt idx="36">
                  <c:v>5408</c:v>
                </c:pt>
                <c:pt idx="37">
                  <c:v>7071</c:v>
                </c:pt>
                <c:pt idx="38">
                  <c:v>22387</c:v>
                </c:pt>
                <c:pt idx="39">
                  <c:v>34061</c:v>
                </c:pt>
                <c:pt idx="40">
                  <c:v>257785.5</c:v>
                </c:pt>
                <c:pt idx="41">
                  <c:v>297848</c:v>
                </c:pt>
                <c:pt idx="42">
                  <c:v>144820</c:v>
                </c:pt>
                <c:pt idx="43">
                  <c:v>43932</c:v>
                </c:pt>
                <c:pt idx="44">
                  <c:v>53973</c:v>
                </c:pt>
                <c:pt idx="45">
                  <c:v>45848</c:v>
                </c:pt>
                <c:pt idx="46">
                  <c:v>40351</c:v>
                </c:pt>
                <c:pt idx="47">
                  <c:v>233648</c:v>
                </c:pt>
                <c:pt idx="48">
                  <c:v>52943</c:v>
                </c:pt>
                <c:pt idx="49">
                  <c:v>12772</c:v>
                </c:pt>
                <c:pt idx="50">
                  <c:v>18765</c:v>
                </c:pt>
                <c:pt idx="51">
                  <c:v>21433</c:v>
                </c:pt>
                <c:pt idx="52">
                  <c:v>46274</c:v>
                </c:pt>
                <c:pt idx="53">
                  <c:v>40405</c:v>
                </c:pt>
                <c:pt idx="54">
                  <c:v>39182</c:v>
                </c:pt>
                <c:pt idx="55">
                  <c:v>55190</c:v>
                </c:pt>
                <c:pt idx="56">
                  <c:v>50473.2</c:v>
                </c:pt>
                <c:pt idx="57">
                  <c:v>43495.1</c:v>
                </c:pt>
                <c:pt idx="58">
                  <c:v>38008</c:v>
                </c:pt>
                <c:pt idx="59">
                  <c:v>64223.3</c:v>
                </c:pt>
                <c:pt idx="60">
                  <c:v>52728.200000000004</c:v>
                </c:pt>
                <c:pt idx="61">
                  <c:v>21691.3</c:v>
                </c:pt>
                <c:pt idx="62">
                  <c:v>30218.2</c:v>
                </c:pt>
                <c:pt idx="63">
                  <c:v>31142.2</c:v>
                </c:pt>
                <c:pt idx="64">
                  <c:v>35429.800000000003</c:v>
                </c:pt>
                <c:pt idx="65">
                  <c:v>30890.5</c:v>
                </c:pt>
                <c:pt idx="66">
                  <c:v>15086.4</c:v>
                </c:pt>
                <c:pt idx="67">
                  <c:v>17781.599999999999</c:v>
                </c:pt>
                <c:pt idx="68">
                  <c:v>18828.099999999999</c:v>
                </c:pt>
                <c:pt idx="69">
                  <c:v>25578</c:v>
                </c:pt>
                <c:pt idx="70">
                  <c:v>30848</c:v>
                </c:pt>
                <c:pt idx="71">
                  <c:v>31881</c:v>
                </c:pt>
                <c:pt idx="72">
                  <c:v>35309</c:v>
                </c:pt>
                <c:pt idx="73">
                  <c:v>36941.800000000003</c:v>
                </c:pt>
                <c:pt idx="74">
                  <c:v>41458.5</c:v>
                </c:pt>
                <c:pt idx="75">
                  <c:v>26461.200000000001</c:v>
                </c:pt>
                <c:pt idx="76">
                  <c:v>45549.5</c:v>
                </c:pt>
                <c:pt idx="77">
                  <c:v>48368</c:v>
                </c:pt>
                <c:pt idx="78">
                  <c:v>31841</c:v>
                </c:pt>
                <c:pt idx="79">
                  <c:v>46125</c:v>
                </c:pt>
                <c:pt idx="80">
                  <c:v>4517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8646</c:v>
                </c:pt>
                <c:pt idx="1">
                  <c:v>5187</c:v>
                </c:pt>
                <c:pt idx="2">
                  <c:v>4152</c:v>
                </c:pt>
                <c:pt idx="3">
                  <c:v>4579</c:v>
                </c:pt>
                <c:pt idx="4">
                  <c:v>2035</c:v>
                </c:pt>
                <c:pt idx="5">
                  <c:v>4604</c:v>
                </c:pt>
                <c:pt idx="6">
                  <c:v>5897</c:v>
                </c:pt>
                <c:pt idx="7">
                  <c:v>8350</c:v>
                </c:pt>
                <c:pt idx="8">
                  <c:v>9933</c:v>
                </c:pt>
                <c:pt idx="9">
                  <c:v>6075</c:v>
                </c:pt>
                <c:pt idx="10">
                  <c:v>4606</c:v>
                </c:pt>
                <c:pt idx="11">
                  <c:v>5502</c:v>
                </c:pt>
                <c:pt idx="12">
                  <c:v>7321</c:v>
                </c:pt>
                <c:pt idx="13">
                  <c:v>13059</c:v>
                </c:pt>
                <c:pt idx="14">
                  <c:v>21154</c:v>
                </c:pt>
                <c:pt idx="15">
                  <c:v>7389</c:v>
                </c:pt>
                <c:pt idx="16">
                  <c:v>8343</c:v>
                </c:pt>
                <c:pt idx="17">
                  <c:v>10091</c:v>
                </c:pt>
                <c:pt idx="18">
                  <c:v>36115</c:v>
                </c:pt>
                <c:pt idx="19">
                  <c:v>28835</c:v>
                </c:pt>
                <c:pt idx="20">
                  <c:v>36700</c:v>
                </c:pt>
                <c:pt idx="21">
                  <c:v>14239</c:v>
                </c:pt>
                <c:pt idx="22">
                  <c:v>48917</c:v>
                </c:pt>
                <c:pt idx="23">
                  <c:v>27206</c:v>
                </c:pt>
                <c:pt idx="24">
                  <c:v>7354</c:v>
                </c:pt>
                <c:pt idx="25">
                  <c:v>106139</c:v>
                </c:pt>
                <c:pt idx="26">
                  <c:v>34792</c:v>
                </c:pt>
                <c:pt idx="27">
                  <c:v>3750</c:v>
                </c:pt>
                <c:pt idx="28">
                  <c:v>75543</c:v>
                </c:pt>
                <c:pt idx="29">
                  <c:v>43474</c:v>
                </c:pt>
                <c:pt idx="30">
                  <c:v>7778</c:v>
                </c:pt>
                <c:pt idx="31">
                  <c:v>57871</c:v>
                </c:pt>
                <c:pt idx="32">
                  <c:v>12743</c:v>
                </c:pt>
                <c:pt idx="33">
                  <c:v>2206.9000000000015</c:v>
                </c:pt>
                <c:pt idx="34">
                  <c:v>85829</c:v>
                </c:pt>
                <c:pt idx="35">
                  <c:v>10437</c:v>
                </c:pt>
                <c:pt idx="36">
                  <c:v>86</c:v>
                </c:pt>
                <c:pt idx="37">
                  <c:v>0</c:v>
                </c:pt>
                <c:pt idx="38">
                  <c:v>175</c:v>
                </c:pt>
                <c:pt idx="39">
                  <c:v>720</c:v>
                </c:pt>
                <c:pt idx="40">
                  <c:v>13681.5</c:v>
                </c:pt>
                <c:pt idx="41">
                  <c:v>23894</c:v>
                </c:pt>
                <c:pt idx="42">
                  <c:v>8331</c:v>
                </c:pt>
                <c:pt idx="43">
                  <c:v>5381</c:v>
                </c:pt>
                <c:pt idx="44">
                  <c:v>2148</c:v>
                </c:pt>
                <c:pt idx="45">
                  <c:v>6910</c:v>
                </c:pt>
                <c:pt idx="46">
                  <c:v>5454</c:v>
                </c:pt>
                <c:pt idx="47">
                  <c:v>18141</c:v>
                </c:pt>
                <c:pt idx="48">
                  <c:v>843</c:v>
                </c:pt>
                <c:pt idx="49">
                  <c:v>305</c:v>
                </c:pt>
                <c:pt idx="50">
                  <c:v>522</c:v>
                </c:pt>
                <c:pt idx="51">
                  <c:v>4465</c:v>
                </c:pt>
                <c:pt idx="52">
                  <c:v>7801</c:v>
                </c:pt>
                <c:pt idx="53">
                  <c:v>4917</c:v>
                </c:pt>
                <c:pt idx="54">
                  <c:v>8017</c:v>
                </c:pt>
                <c:pt idx="55">
                  <c:v>8131</c:v>
                </c:pt>
                <c:pt idx="56">
                  <c:v>10002.800000000003</c:v>
                </c:pt>
                <c:pt idx="57">
                  <c:v>8963.9000000000015</c:v>
                </c:pt>
                <c:pt idx="58">
                  <c:v>8481</c:v>
                </c:pt>
                <c:pt idx="59">
                  <c:v>10556.699999999997</c:v>
                </c:pt>
                <c:pt idx="60">
                  <c:v>4707.7999999999956</c:v>
                </c:pt>
                <c:pt idx="61">
                  <c:v>2789.7000000000007</c:v>
                </c:pt>
                <c:pt idx="62">
                  <c:v>4520</c:v>
                </c:pt>
                <c:pt idx="63">
                  <c:v>6551</c:v>
                </c:pt>
                <c:pt idx="64">
                  <c:v>9196</c:v>
                </c:pt>
                <c:pt idx="65">
                  <c:v>6099</c:v>
                </c:pt>
                <c:pt idx="66">
                  <c:v>7760</c:v>
                </c:pt>
                <c:pt idx="67">
                  <c:v>5726</c:v>
                </c:pt>
                <c:pt idx="68">
                  <c:v>6008</c:v>
                </c:pt>
                <c:pt idx="69">
                  <c:v>5311</c:v>
                </c:pt>
                <c:pt idx="70">
                  <c:v>6706</c:v>
                </c:pt>
                <c:pt idx="71">
                  <c:v>6956</c:v>
                </c:pt>
                <c:pt idx="72">
                  <c:v>6375</c:v>
                </c:pt>
                <c:pt idx="73">
                  <c:v>5594.3019999999997</c:v>
                </c:pt>
                <c:pt idx="74">
                  <c:v>8475</c:v>
                </c:pt>
                <c:pt idx="75">
                  <c:v>5707</c:v>
                </c:pt>
                <c:pt idx="76">
                  <c:v>9405</c:v>
                </c:pt>
                <c:pt idx="77">
                  <c:v>7131</c:v>
                </c:pt>
                <c:pt idx="78">
                  <c:v>6146</c:v>
                </c:pt>
                <c:pt idx="79">
                  <c:v>6152</c:v>
                </c:pt>
                <c:pt idx="80">
                  <c:v>7550.5005000000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7.072359040459923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31162</c:v>
                </c:pt>
                <c:pt idx="1">
                  <c:v>32707</c:v>
                </c:pt>
                <c:pt idx="2">
                  <c:v>24504</c:v>
                </c:pt>
                <c:pt idx="3">
                  <c:v>41481</c:v>
                </c:pt>
                <c:pt idx="4">
                  <c:v>43776</c:v>
                </c:pt>
                <c:pt idx="5">
                  <c:v>50251</c:v>
                </c:pt>
                <c:pt idx="6">
                  <c:v>38096</c:v>
                </c:pt>
                <c:pt idx="7">
                  <c:v>43214</c:v>
                </c:pt>
                <c:pt idx="8">
                  <c:v>45535</c:v>
                </c:pt>
                <c:pt idx="9">
                  <c:v>52153</c:v>
                </c:pt>
                <c:pt idx="10">
                  <c:v>50656</c:v>
                </c:pt>
                <c:pt idx="11">
                  <c:v>36787</c:v>
                </c:pt>
                <c:pt idx="12">
                  <c:v>44601</c:v>
                </c:pt>
                <c:pt idx="13">
                  <c:v>43193</c:v>
                </c:pt>
                <c:pt idx="14">
                  <c:v>40575</c:v>
                </c:pt>
                <c:pt idx="15">
                  <c:v>46953</c:v>
                </c:pt>
                <c:pt idx="16">
                  <c:v>55142</c:v>
                </c:pt>
                <c:pt idx="17">
                  <c:v>58967</c:v>
                </c:pt>
                <c:pt idx="18">
                  <c:v>63527</c:v>
                </c:pt>
                <c:pt idx="19">
                  <c:v>75504</c:v>
                </c:pt>
                <c:pt idx="20">
                  <c:v>65974</c:v>
                </c:pt>
                <c:pt idx="21">
                  <c:v>58684</c:v>
                </c:pt>
                <c:pt idx="22">
                  <c:v>48967</c:v>
                </c:pt>
                <c:pt idx="23">
                  <c:v>61967</c:v>
                </c:pt>
                <c:pt idx="24">
                  <c:v>64236</c:v>
                </c:pt>
                <c:pt idx="25">
                  <c:v>77225</c:v>
                </c:pt>
                <c:pt idx="26">
                  <c:v>128413</c:v>
                </c:pt>
                <c:pt idx="27">
                  <c:v>72828</c:v>
                </c:pt>
                <c:pt idx="28">
                  <c:v>132774</c:v>
                </c:pt>
                <c:pt idx="29">
                  <c:v>167597</c:v>
                </c:pt>
                <c:pt idx="30">
                  <c:v>119016</c:v>
                </c:pt>
                <c:pt idx="31">
                  <c:v>194856</c:v>
                </c:pt>
                <c:pt idx="32">
                  <c:v>184919</c:v>
                </c:pt>
                <c:pt idx="33">
                  <c:v>172763</c:v>
                </c:pt>
                <c:pt idx="34">
                  <c:v>118672</c:v>
                </c:pt>
                <c:pt idx="35">
                  <c:v>131108</c:v>
                </c:pt>
                <c:pt idx="36">
                  <c:v>162399</c:v>
                </c:pt>
                <c:pt idx="37">
                  <c:v>405150</c:v>
                </c:pt>
                <c:pt idx="38">
                  <c:v>293162</c:v>
                </c:pt>
                <c:pt idx="39">
                  <c:v>123086</c:v>
                </c:pt>
                <c:pt idx="40">
                  <c:v>85647</c:v>
                </c:pt>
                <c:pt idx="41">
                  <c:v>85359</c:v>
                </c:pt>
                <c:pt idx="42">
                  <c:v>86105</c:v>
                </c:pt>
                <c:pt idx="43">
                  <c:v>113978</c:v>
                </c:pt>
                <c:pt idx="44">
                  <c:v>168138</c:v>
                </c:pt>
                <c:pt idx="45">
                  <c:v>226267</c:v>
                </c:pt>
                <c:pt idx="46">
                  <c:v>143449</c:v>
                </c:pt>
                <c:pt idx="47">
                  <c:v>108122</c:v>
                </c:pt>
                <c:pt idx="48">
                  <c:v>92471</c:v>
                </c:pt>
                <c:pt idx="49">
                  <c:v>55373</c:v>
                </c:pt>
                <c:pt idx="50">
                  <c:v>32384</c:v>
                </c:pt>
                <c:pt idx="51">
                  <c:v>36405</c:v>
                </c:pt>
                <c:pt idx="52">
                  <c:v>36522</c:v>
                </c:pt>
                <c:pt idx="53">
                  <c:v>29861</c:v>
                </c:pt>
                <c:pt idx="54">
                  <c:v>29918</c:v>
                </c:pt>
                <c:pt idx="55">
                  <c:v>19833</c:v>
                </c:pt>
                <c:pt idx="56">
                  <c:v>17824</c:v>
                </c:pt>
                <c:pt idx="57">
                  <c:v>19158.599999999999</c:v>
                </c:pt>
                <c:pt idx="58">
                  <c:v>29378.3</c:v>
                </c:pt>
                <c:pt idx="59">
                  <c:v>30112</c:v>
                </c:pt>
                <c:pt idx="60">
                  <c:v>28965</c:v>
                </c:pt>
                <c:pt idx="61">
                  <c:v>26810.5</c:v>
                </c:pt>
                <c:pt idx="62">
                  <c:v>34438.300000000003</c:v>
                </c:pt>
                <c:pt idx="63">
                  <c:v>37640.300000000003</c:v>
                </c:pt>
                <c:pt idx="64">
                  <c:v>23503.5</c:v>
                </c:pt>
                <c:pt idx="65">
                  <c:v>30625</c:v>
                </c:pt>
                <c:pt idx="66">
                  <c:v>22516</c:v>
                </c:pt>
                <c:pt idx="67">
                  <c:v>22376</c:v>
                </c:pt>
                <c:pt idx="68">
                  <c:v>17718</c:v>
                </c:pt>
                <c:pt idx="69">
                  <c:v>18726</c:v>
                </c:pt>
                <c:pt idx="70">
                  <c:v>12372.9</c:v>
                </c:pt>
                <c:pt idx="71">
                  <c:v>12085</c:v>
                </c:pt>
                <c:pt idx="72">
                  <c:v>8101</c:v>
                </c:pt>
                <c:pt idx="73">
                  <c:v>8432</c:v>
                </c:pt>
                <c:pt idx="74">
                  <c:v>7919</c:v>
                </c:pt>
                <c:pt idx="75">
                  <c:v>4381</c:v>
                </c:pt>
                <c:pt idx="76">
                  <c:v>7170</c:v>
                </c:pt>
                <c:pt idx="77">
                  <c:v>3362</c:v>
                </c:pt>
                <c:pt idx="78">
                  <c:v>3783</c:v>
                </c:pt>
                <c:pt idx="79">
                  <c:v>4507</c:v>
                </c:pt>
                <c:pt idx="80">
                  <c:v>9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62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900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01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6031</c:v>
                </c:pt>
                <c:pt idx="28">
                  <c:v>4756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17698</c:v>
                </c:pt>
                <c:pt idx="38">
                  <c:v>5978</c:v>
                </c:pt>
                <c:pt idx="39">
                  <c:v>13667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2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.40000000000145519</c:v>
                </c:pt>
                <c:pt idx="58">
                  <c:v>1.7000000000007276</c:v>
                </c:pt>
                <c:pt idx="59">
                  <c:v>22</c:v>
                </c:pt>
                <c:pt idx="60">
                  <c:v>24</c:v>
                </c:pt>
                <c:pt idx="61">
                  <c:v>5.5</c:v>
                </c:pt>
                <c:pt idx="62">
                  <c:v>6</c:v>
                </c:pt>
                <c:pt idx="63">
                  <c:v>10</c:v>
                </c:pt>
                <c:pt idx="64">
                  <c:v>42</c:v>
                </c:pt>
                <c:pt idx="65">
                  <c:v>24</c:v>
                </c:pt>
                <c:pt idx="66">
                  <c:v>38</c:v>
                </c:pt>
                <c:pt idx="67">
                  <c:v>10</c:v>
                </c:pt>
                <c:pt idx="68">
                  <c:v>30</c:v>
                </c:pt>
                <c:pt idx="69">
                  <c:v>107</c:v>
                </c:pt>
                <c:pt idx="70">
                  <c:v>30</c:v>
                </c:pt>
                <c:pt idx="71">
                  <c:v>14</c:v>
                </c:pt>
                <c:pt idx="72">
                  <c:v>7</c:v>
                </c:pt>
                <c:pt idx="73">
                  <c:v>23.4</c:v>
                </c:pt>
                <c:pt idx="74">
                  <c:v>71</c:v>
                </c:pt>
                <c:pt idx="75">
                  <c:v>41</c:v>
                </c:pt>
                <c:pt idx="76">
                  <c:v>59</c:v>
                </c:pt>
                <c:pt idx="77">
                  <c:v>16</c:v>
                </c:pt>
                <c:pt idx="78">
                  <c:v>22</c:v>
                </c:pt>
                <c:pt idx="79">
                  <c:v>60</c:v>
                </c:pt>
                <c:pt idx="8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7.072359040459923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0</c:v>
                </c:pt>
                <c:pt idx="1">
                  <c:v>119</c:v>
                </c:pt>
                <c:pt idx="2">
                  <c:v>31</c:v>
                </c:pt>
                <c:pt idx="3">
                  <c:v>12</c:v>
                </c:pt>
                <c:pt idx="4">
                  <c:v>20</c:v>
                </c:pt>
                <c:pt idx="5">
                  <c:v>0</c:v>
                </c:pt>
                <c:pt idx="6">
                  <c:v>2</c:v>
                </c:pt>
                <c:pt idx="7">
                  <c:v>17</c:v>
                </c:pt>
                <c:pt idx="8">
                  <c:v>77</c:v>
                </c:pt>
                <c:pt idx="9">
                  <c:v>113</c:v>
                </c:pt>
                <c:pt idx="10">
                  <c:v>49</c:v>
                </c:pt>
                <c:pt idx="11">
                  <c:v>133</c:v>
                </c:pt>
                <c:pt idx="12">
                  <c:v>117</c:v>
                </c:pt>
                <c:pt idx="13">
                  <c:v>71</c:v>
                </c:pt>
                <c:pt idx="14">
                  <c:v>185</c:v>
                </c:pt>
                <c:pt idx="15">
                  <c:v>55</c:v>
                </c:pt>
                <c:pt idx="16">
                  <c:v>37</c:v>
                </c:pt>
                <c:pt idx="17">
                  <c:v>92</c:v>
                </c:pt>
                <c:pt idx="18">
                  <c:v>129</c:v>
                </c:pt>
                <c:pt idx="19">
                  <c:v>51</c:v>
                </c:pt>
                <c:pt idx="20">
                  <c:v>126</c:v>
                </c:pt>
                <c:pt idx="21">
                  <c:v>168</c:v>
                </c:pt>
                <c:pt idx="22">
                  <c:v>337</c:v>
                </c:pt>
                <c:pt idx="23">
                  <c:v>500</c:v>
                </c:pt>
                <c:pt idx="24">
                  <c:v>62</c:v>
                </c:pt>
                <c:pt idx="25">
                  <c:v>240</c:v>
                </c:pt>
                <c:pt idx="26">
                  <c:v>6</c:v>
                </c:pt>
                <c:pt idx="27">
                  <c:v>399</c:v>
                </c:pt>
                <c:pt idx="28">
                  <c:v>252</c:v>
                </c:pt>
                <c:pt idx="29">
                  <c:v>484</c:v>
                </c:pt>
                <c:pt idx="30">
                  <c:v>1317</c:v>
                </c:pt>
                <c:pt idx="31">
                  <c:v>749</c:v>
                </c:pt>
                <c:pt idx="32">
                  <c:v>649</c:v>
                </c:pt>
                <c:pt idx="33">
                  <c:v>1361</c:v>
                </c:pt>
                <c:pt idx="34">
                  <c:v>464</c:v>
                </c:pt>
                <c:pt idx="35">
                  <c:v>491</c:v>
                </c:pt>
                <c:pt idx="36">
                  <c:v>1255</c:v>
                </c:pt>
                <c:pt idx="37">
                  <c:v>325</c:v>
                </c:pt>
                <c:pt idx="38">
                  <c:v>103</c:v>
                </c:pt>
                <c:pt idx="39">
                  <c:v>460</c:v>
                </c:pt>
                <c:pt idx="40">
                  <c:v>182</c:v>
                </c:pt>
                <c:pt idx="41">
                  <c:v>2</c:v>
                </c:pt>
                <c:pt idx="42">
                  <c:v>222</c:v>
                </c:pt>
                <c:pt idx="43">
                  <c:v>42</c:v>
                </c:pt>
                <c:pt idx="44">
                  <c:v>318</c:v>
                </c:pt>
                <c:pt idx="45">
                  <c:v>22</c:v>
                </c:pt>
                <c:pt idx="46">
                  <c:v>51</c:v>
                </c:pt>
                <c:pt idx="47">
                  <c:v>167</c:v>
                </c:pt>
                <c:pt idx="48">
                  <c:v>115</c:v>
                </c:pt>
                <c:pt idx="49">
                  <c:v>650</c:v>
                </c:pt>
                <c:pt idx="50">
                  <c:v>201</c:v>
                </c:pt>
                <c:pt idx="51">
                  <c:v>495</c:v>
                </c:pt>
                <c:pt idx="52">
                  <c:v>343</c:v>
                </c:pt>
                <c:pt idx="53">
                  <c:v>185</c:v>
                </c:pt>
                <c:pt idx="54">
                  <c:v>50</c:v>
                </c:pt>
                <c:pt idx="55">
                  <c:v>336</c:v>
                </c:pt>
                <c:pt idx="56">
                  <c:v>185</c:v>
                </c:pt>
                <c:pt idx="57">
                  <c:v>41</c:v>
                </c:pt>
                <c:pt idx="58">
                  <c:v>372</c:v>
                </c:pt>
                <c:pt idx="59">
                  <c:v>378</c:v>
                </c:pt>
                <c:pt idx="60">
                  <c:v>1122.1199999999999</c:v>
                </c:pt>
                <c:pt idx="61">
                  <c:v>93.5</c:v>
                </c:pt>
                <c:pt idx="62">
                  <c:v>111.4</c:v>
                </c:pt>
                <c:pt idx="63">
                  <c:v>255.2</c:v>
                </c:pt>
                <c:pt idx="64">
                  <c:v>245</c:v>
                </c:pt>
                <c:pt idx="65">
                  <c:v>153.69999999999999</c:v>
                </c:pt>
                <c:pt idx="66">
                  <c:v>357</c:v>
                </c:pt>
                <c:pt idx="67">
                  <c:v>660</c:v>
                </c:pt>
                <c:pt idx="68">
                  <c:v>399</c:v>
                </c:pt>
                <c:pt idx="69">
                  <c:v>770</c:v>
                </c:pt>
                <c:pt idx="70">
                  <c:v>485.5</c:v>
                </c:pt>
                <c:pt idx="71">
                  <c:v>547</c:v>
                </c:pt>
                <c:pt idx="72">
                  <c:v>278</c:v>
                </c:pt>
                <c:pt idx="73">
                  <c:v>695</c:v>
                </c:pt>
                <c:pt idx="74">
                  <c:v>1050</c:v>
                </c:pt>
                <c:pt idx="75">
                  <c:v>2011.5</c:v>
                </c:pt>
                <c:pt idx="76">
                  <c:v>2054</c:v>
                </c:pt>
                <c:pt idx="77">
                  <c:v>795</c:v>
                </c:pt>
                <c:pt idx="78">
                  <c:v>1749</c:v>
                </c:pt>
                <c:pt idx="79">
                  <c:v>7737</c:v>
                </c:pt>
                <c:pt idx="80">
                  <c:v>4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36</c:v>
                </c:pt>
                <c:pt idx="28">
                  <c:v>206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74</c:v>
                </c:pt>
                <c:pt idx="59">
                  <c:v>4</c:v>
                </c:pt>
                <c:pt idx="60">
                  <c:v>23.880000000000109</c:v>
                </c:pt>
                <c:pt idx="61">
                  <c:v>0.5</c:v>
                </c:pt>
                <c:pt idx="62">
                  <c:v>19</c:v>
                </c:pt>
                <c:pt idx="63">
                  <c:v>42</c:v>
                </c:pt>
                <c:pt idx="64">
                  <c:v>60</c:v>
                </c:pt>
                <c:pt idx="65">
                  <c:v>86</c:v>
                </c:pt>
                <c:pt idx="66">
                  <c:v>87</c:v>
                </c:pt>
                <c:pt idx="67">
                  <c:v>113</c:v>
                </c:pt>
                <c:pt idx="68">
                  <c:v>101</c:v>
                </c:pt>
                <c:pt idx="69">
                  <c:v>210</c:v>
                </c:pt>
                <c:pt idx="70">
                  <c:v>162</c:v>
                </c:pt>
                <c:pt idx="71">
                  <c:v>316</c:v>
                </c:pt>
                <c:pt idx="72">
                  <c:v>329</c:v>
                </c:pt>
                <c:pt idx="73">
                  <c:v>498.70000000000005</c:v>
                </c:pt>
                <c:pt idx="74">
                  <c:v>207</c:v>
                </c:pt>
                <c:pt idx="75">
                  <c:v>379</c:v>
                </c:pt>
                <c:pt idx="76">
                  <c:v>443</c:v>
                </c:pt>
                <c:pt idx="77">
                  <c:v>809</c:v>
                </c:pt>
                <c:pt idx="78">
                  <c:v>711</c:v>
                </c:pt>
                <c:pt idx="79">
                  <c:v>452</c:v>
                </c:pt>
                <c:pt idx="80">
                  <c:v>656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307775819706702"/>
          <c:y val="4.959724487739591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2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7</c:v>
                </c:pt>
                <c:pt idx="5">
                  <c:v>23</c:v>
                </c:pt>
                <c:pt idx="6">
                  <c:v>26</c:v>
                </c:pt>
                <c:pt idx="7">
                  <c:v>55</c:v>
                </c:pt>
                <c:pt idx="8">
                  <c:v>96</c:v>
                </c:pt>
                <c:pt idx="9">
                  <c:v>24</c:v>
                </c:pt>
                <c:pt idx="10">
                  <c:v>41</c:v>
                </c:pt>
                <c:pt idx="11">
                  <c:v>28</c:v>
                </c:pt>
                <c:pt idx="12">
                  <c:v>30</c:v>
                </c:pt>
                <c:pt idx="13">
                  <c:v>91</c:v>
                </c:pt>
                <c:pt idx="14">
                  <c:v>7</c:v>
                </c:pt>
                <c:pt idx="15">
                  <c:v>21</c:v>
                </c:pt>
                <c:pt idx="16">
                  <c:v>3</c:v>
                </c:pt>
                <c:pt idx="17">
                  <c:v>10</c:v>
                </c:pt>
                <c:pt idx="18">
                  <c:v>7</c:v>
                </c:pt>
                <c:pt idx="19">
                  <c:v>9</c:v>
                </c:pt>
                <c:pt idx="20">
                  <c:v>9</c:v>
                </c:pt>
                <c:pt idx="21">
                  <c:v>7</c:v>
                </c:pt>
                <c:pt idx="22">
                  <c:v>16</c:v>
                </c:pt>
                <c:pt idx="23">
                  <c:v>15</c:v>
                </c:pt>
                <c:pt idx="24">
                  <c:v>9</c:v>
                </c:pt>
                <c:pt idx="25">
                  <c:v>39</c:v>
                </c:pt>
                <c:pt idx="26">
                  <c:v>13</c:v>
                </c:pt>
                <c:pt idx="27">
                  <c:v>13</c:v>
                </c:pt>
                <c:pt idx="28">
                  <c:v>40</c:v>
                </c:pt>
                <c:pt idx="29">
                  <c:v>24</c:v>
                </c:pt>
                <c:pt idx="30">
                  <c:v>25</c:v>
                </c:pt>
                <c:pt idx="31">
                  <c:v>77</c:v>
                </c:pt>
                <c:pt idx="32">
                  <c:v>50</c:v>
                </c:pt>
                <c:pt idx="33">
                  <c:v>73</c:v>
                </c:pt>
                <c:pt idx="34">
                  <c:v>8</c:v>
                </c:pt>
                <c:pt idx="35">
                  <c:v>46</c:v>
                </c:pt>
                <c:pt idx="36">
                  <c:v>63</c:v>
                </c:pt>
                <c:pt idx="37">
                  <c:v>66</c:v>
                </c:pt>
                <c:pt idx="38">
                  <c:v>24</c:v>
                </c:pt>
                <c:pt idx="39">
                  <c:v>5</c:v>
                </c:pt>
                <c:pt idx="40">
                  <c:v>36</c:v>
                </c:pt>
                <c:pt idx="41">
                  <c:v>18</c:v>
                </c:pt>
                <c:pt idx="42">
                  <c:v>43</c:v>
                </c:pt>
                <c:pt idx="43">
                  <c:v>61</c:v>
                </c:pt>
                <c:pt idx="44">
                  <c:v>55</c:v>
                </c:pt>
                <c:pt idx="45">
                  <c:v>2</c:v>
                </c:pt>
                <c:pt idx="46">
                  <c:v>22</c:v>
                </c:pt>
                <c:pt idx="47">
                  <c:v>43</c:v>
                </c:pt>
                <c:pt idx="48">
                  <c:v>25</c:v>
                </c:pt>
                <c:pt idx="49">
                  <c:v>70</c:v>
                </c:pt>
                <c:pt idx="50">
                  <c:v>50</c:v>
                </c:pt>
                <c:pt idx="51">
                  <c:v>132</c:v>
                </c:pt>
                <c:pt idx="52">
                  <c:v>106</c:v>
                </c:pt>
                <c:pt idx="53">
                  <c:v>42</c:v>
                </c:pt>
                <c:pt idx="54">
                  <c:v>16</c:v>
                </c:pt>
                <c:pt idx="55">
                  <c:v>56.6</c:v>
                </c:pt>
                <c:pt idx="56">
                  <c:v>36.4</c:v>
                </c:pt>
                <c:pt idx="57">
                  <c:v>20</c:v>
                </c:pt>
                <c:pt idx="58">
                  <c:v>15</c:v>
                </c:pt>
                <c:pt idx="59">
                  <c:v>31.5</c:v>
                </c:pt>
                <c:pt idx="60">
                  <c:v>71.5</c:v>
                </c:pt>
                <c:pt idx="61">
                  <c:v>54</c:v>
                </c:pt>
                <c:pt idx="62">
                  <c:v>91.5</c:v>
                </c:pt>
                <c:pt idx="63">
                  <c:v>44</c:v>
                </c:pt>
                <c:pt idx="64">
                  <c:v>69.8</c:v>
                </c:pt>
                <c:pt idx="65">
                  <c:v>42</c:v>
                </c:pt>
                <c:pt idx="66">
                  <c:v>7.5</c:v>
                </c:pt>
                <c:pt idx="67">
                  <c:v>44.5</c:v>
                </c:pt>
                <c:pt idx="68">
                  <c:v>29</c:v>
                </c:pt>
                <c:pt idx="69">
                  <c:v>18</c:v>
                </c:pt>
                <c:pt idx="70">
                  <c:v>2</c:v>
                </c:pt>
                <c:pt idx="71">
                  <c:v>7</c:v>
                </c:pt>
                <c:pt idx="72">
                  <c:v>4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.39999999999999858</c:v>
                </c:pt>
                <c:pt idx="56">
                  <c:v>-0.39999999999999858</c:v>
                </c:pt>
                <c:pt idx="57">
                  <c:v>0</c:v>
                </c:pt>
                <c:pt idx="58">
                  <c:v>2</c:v>
                </c:pt>
                <c:pt idx="59">
                  <c:v>1.5</c:v>
                </c:pt>
                <c:pt idx="60">
                  <c:v>0.5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8</c:v>
                </c:pt>
                <c:pt idx="66">
                  <c:v>3</c:v>
                </c:pt>
                <c:pt idx="67">
                  <c:v>3</c:v>
                </c:pt>
                <c:pt idx="68">
                  <c:v>2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307775819706702"/>
          <c:y val="7.6759689126657316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7029365321948"/>
          <c:y val="3.526602560446538E-2"/>
          <c:w val="0.84365247120562248"/>
          <c:h val="0.842975406937616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ofessionnel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384.69999999999993</c:v>
                </c:pt>
                <c:pt idx="1">
                  <c:v>125.3</c:v>
                </c:pt>
                <c:pt idx="2">
                  <c:v>133.6</c:v>
                </c:pt>
                <c:pt idx="3">
                  <c:v>345.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25</c:v>
                </c:pt>
                <c:pt idx="54">
                  <c:v>71</c:v>
                </c:pt>
                <c:pt idx="55">
                  <c:v>90</c:v>
                </c:pt>
                <c:pt idx="56">
                  <c:v>25</c:v>
                </c:pt>
                <c:pt idx="57">
                  <c:v>66</c:v>
                </c:pt>
                <c:pt idx="58">
                  <c:v>50</c:v>
                </c:pt>
                <c:pt idx="59">
                  <c:v>1568</c:v>
                </c:pt>
                <c:pt idx="60">
                  <c:v>503</c:v>
                </c:pt>
                <c:pt idx="61">
                  <c:v>325</c:v>
                </c:pt>
                <c:pt idx="62">
                  <c:v>1205.9000000000001</c:v>
                </c:pt>
                <c:pt idx="63">
                  <c:v>384.7</c:v>
                </c:pt>
                <c:pt idx="64">
                  <c:v>125.3</c:v>
                </c:pt>
                <c:pt idx="65">
                  <c:v>133.6</c:v>
                </c:pt>
                <c:pt idx="66">
                  <c:v>345</c:v>
                </c:pt>
                <c:pt idx="67">
                  <c:v>162.9</c:v>
                </c:pt>
                <c:pt idx="68">
                  <c:v>72.900000000000006</c:v>
                </c:pt>
                <c:pt idx="69">
                  <c:v>41</c:v>
                </c:pt>
                <c:pt idx="70">
                  <c:v>65.5</c:v>
                </c:pt>
                <c:pt idx="71">
                  <c:v>153</c:v>
                </c:pt>
                <c:pt idx="72">
                  <c:v>188</c:v>
                </c:pt>
                <c:pt idx="73">
                  <c:v>68.7</c:v>
                </c:pt>
                <c:pt idx="74">
                  <c:v>124.7</c:v>
                </c:pt>
                <c:pt idx="75">
                  <c:v>75.2</c:v>
                </c:pt>
                <c:pt idx="76">
                  <c:v>132</c:v>
                </c:pt>
                <c:pt idx="77">
                  <c:v>43</c:v>
                </c:pt>
                <c:pt idx="78">
                  <c:v>224</c:v>
                </c:pt>
                <c:pt idx="79">
                  <c:v>209</c:v>
                </c:pt>
                <c:pt idx="80">
                  <c:v>7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oisir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C$2:$C$82</c:f>
              <c:numCache>
                <c:formatCode>#,##0</c:formatCode>
                <c:ptCount val="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2</c:v>
                </c:pt>
                <c:pt idx="56">
                  <c:v>5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12</c:v>
                </c:pt>
                <c:pt idx="61">
                  <c:v>11</c:v>
                </c:pt>
                <c:pt idx="62">
                  <c:v>3</c:v>
                </c:pt>
                <c:pt idx="63">
                  <c:v>37</c:v>
                </c:pt>
                <c:pt idx="64">
                  <c:v>13</c:v>
                </c:pt>
                <c:pt idx="65">
                  <c:v>6</c:v>
                </c:pt>
                <c:pt idx="66">
                  <c:v>54</c:v>
                </c:pt>
                <c:pt idx="67">
                  <c:v>34</c:v>
                </c:pt>
                <c:pt idx="68">
                  <c:v>116</c:v>
                </c:pt>
                <c:pt idx="69">
                  <c:v>76</c:v>
                </c:pt>
                <c:pt idx="70">
                  <c:v>17</c:v>
                </c:pt>
                <c:pt idx="71">
                  <c:v>58</c:v>
                </c:pt>
                <c:pt idx="72">
                  <c:v>23</c:v>
                </c:pt>
                <c:pt idx="73">
                  <c:v>17.73</c:v>
                </c:pt>
                <c:pt idx="74">
                  <c:v>52</c:v>
                </c:pt>
                <c:pt idx="75">
                  <c:v>80</c:v>
                </c:pt>
                <c:pt idx="76">
                  <c:v>28</c:v>
                </c:pt>
                <c:pt idx="77">
                  <c:v>19</c:v>
                </c:pt>
                <c:pt idx="78">
                  <c:v>53</c:v>
                </c:pt>
                <c:pt idx="79">
                  <c:v>196</c:v>
                </c:pt>
                <c:pt idx="80">
                  <c:v>73.25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3-42A8-81FE-111D9B32C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3121574446367"/>
          <c:y val="7.0723590404599232E-2"/>
          <c:w val="0.1462128103802155"/>
          <c:h val="0.152329268710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2801.7</c:v>
                </c:pt>
                <c:pt idx="1">
                  <c:v>3141.6</c:v>
                </c:pt>
                <c:pt idx="2">
                  <c:v>3337</c:v>
                </c:pt>
                <c:pt idx="3">
                  <c:v>3409.05</c:v>
                </c:pt>
                <c:pt idx="4">
                  <c:v>2619.1000000000004</c:v>
                </c:pt>
                <c:pt idx="5">
                  <c:v>2799.5</c:v>
                </c:pt>
                <c:pt idx="6">
                  <c:v>3889.7</c:v>
                </c:pt>
                <c:pt idx="7">
                  <c:v>3145.5</c:v>
                </c:pt>
                <c:pt idx="8">
                  <c:v>2747.8999999999996</c:v>
                </c:pt>
                <c:pt idx="9">
                  <c:v>5244.3</c:v>
                </c:pt>
                <c:pt idx="10">
                  <c:v>3203.4</c:v>
                </c:pt>
                <c:pt idx="11">
                  <c:v>5067.2</c:v>
                </c:pt>
                <c:pt idx="12">
                  <c:v>3441</c:v>
                </c:pt>
                <c:pt idx="13">
                  <c:v>2406</c:v>
                </c:pt>
                <c:pt idx="14">
                  <c:v>3087.2999999999997</c:v>
                </c:pt>
                <c:pt idx="15">
                  <c:v>2816</c:v>
                </c:pt>
                <c:pt idx="16">
                  <c:v>4046</c:v>
                </c:pt>
                <c:pt idx="17">
                  <c:v>1745.2</c:v>
                </c:pt>
                <c:pt idx="18">
                  <c:v>1549.6</c:v>
                </c:pt>
                <c:pt idx="19">
                  <c:v>996.30000000000007</c:v>
                </c:pt>
                <c:pt idx="20">
                  <c:v>921</c:v>
                </c:pt>
                <c:pt idx="21">
                  <c:v>1600</c:v>
                </c:pt>
                <c:pt idx="22">
                  <c:v>2635</c:v>
                </c:pt>
                <c:pt idx="23">
                  <c:v>2312</c:v>
                </c:pt>
                <c:pt idx="24">
                  <c:v>38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891.3000000000002</c:v>
                </c:pt>
                <c:pt idx="1">
                  <c:v>1772.4</c:v>
                </c:pt>
                <c:pt idx="2">
                  <c:v>1226</c:v>
                </c:pt>
                <c:pt idx="3">
                  <c:v>1804.9499999999998</c:v>
                </c:pt>
                <c:pt idx="4">
                  <c:v>503.89999999999964</c:v>
                </c:pt>
                <c:pt idx="5">
                  <c:v>2378.5</c:v>
                </c:pt>
                <c:pt idx="6">
                  <c:v>3007</c:v>
                </c:pt>
                <c:pt idx="7">
                  <c:v>1588</c:v>
                </c:pt>
                <c:pt idx="8">
                  <c:v>2426</c:v>
                </c:pt>
                <c:pt idx="9">
                  <c:v>1650</c:v>
                </c:pt>
                <c:pt idx="10">
                  <c:v>3783</c:v>
                </c:pt>
                <c:pt idx="11">
                  <c:v>2750</c:v>
                </c:pt>
                <c:pt idx="12">
                  <c:v>2205</c:v>
                </c:pt>
                <c:pt idx="13">
                  <c:v>1384</c:v>
                </c:pt>
                <c:pt idx="14">
                  <c:v>1691</c:v>
                </c:pt>
                <c:pt idx="15">
                  <c:v>2190</c:v>
                </c:pt>
                <c:pt idx="16">
                  <c:v>1526</c:v>
                </c:pt>
                <c:pt idx="17">
                  <c:v>907.5</c:v>
                </c:pt>
                <c:pt idx="18">
                  <c:v>873</c:v>
                </c:pt>
                <c:pt idx="19">
                  <c:v>543</c:v>
                </c:pt>
                <c:pt idx="20">
                  <c:v>852</c:v>
                </c:pt>
                <c:pt idx="21">
                  <c:v>706</c:v>
                </c:pt>
                <c:pt idx="22">
                  <c:v>493</c:v>
                </c:pt>
                <c:pt idx="23">
                  <c:v>684</c:v>
                </c:pt>
                <c:pt idx="24">
                  <c:v>963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241.1999999999998</c:v>
                </c:pt>
                <c:pt idx="1">
                  <c:v>998.35</c:v>
                </c:pt>
                <c:pt idx="2">
                  <c:v>1277</c:v>
                </c:pt>
                <c:pt idx="3">
                  <c:v>1790.7</c:v>
                </c:pt>
                <c:pt idx="4">
                  <c:v>2584.25</c:v>
                </c:pt>
                <c:pt idx="5">
                  <c:v>667.89999999999986</c:v>
                </c:pt>
                <c:pt idx="6">
                  <c:v>650.29999999999995</c:v>
                </c:pt>
                <c:pt idx="7">
                  <c:v>715.7</c:v>
                </c:pt>
                <c:pt idx="8">
                  <c:v>536.5</c:v>
                </c:pt>
                <c:pt idx="9">
                  <c:v>1080.7</c:v>
                </c:pt>
                <c:pt idx="10">
                  <c:v>383.6</c:v>
                </c:pt>
                <c:pt idx="11">
                  <c:v>326.10000000000002</c:v>
                </c:pt>
                <c:pt idx="12">
                  <c:v>43.199999999999996</c:v>
                </c:pt>
                <c:pt idx="13">
                  <c:v>595</c:v>
                </c:pt>
                <c:pt idx="14">
                  <c:v>398.5</c:v>
                </c:pt>
                <c:pt idx="15">
                  <c:v>454</c:v>
                </c:pt>
                <c:pt idx="16">
                  <c:v>221</c:v>
                </c:pt>
                <c:pt idx="17">
                  <c:v>170.8</c:v>
                </c:pt>
                <c:pt idx="18">
                  <c:v>163.69999999999999</c:v>
                </c:pt>
                <c:pt idx="19">
                  <c:v>87.5</c:v>
                </c:pt>
                <c:pt idx="20">
                  <c:v>30</c:v>
                </c:pt>
                <c:pt idx="21">
                  <c:v>29</c:v>
                </c:pt>
                <c:pt idx="22">
                  <c:v>30</c:v>
                </c:pt>
                <c:pt idx="23">
                  <c:v>6</c:v>
                </c:pt>
                <c:pt idx="2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428.80000000000018</c:v>
                </c:pt>
                <c:pt idx="1">
                  <c:v>371.65</c:v>
                </c:pt>
                <c:pt idx="2">
                  <c:v>431</c:v>
                </c:pt>
                <c:pt idx="3">
                  <c:v>756.3</c:v>
                </c:pt>
                <c:pt idx="4">
                  <c:v>435.75</c:v>
                </c:pt>
                <c:pt idx="5">
                  <c:v>400.10000000000014</c:v>
                </c:pt>
                <c:pt idx="6">
                  <c:v>403</c:v>
                </c:pt>
                <c:pt idx="7">
                  <c:v>245</c:v>
                </c:pt>
                <c:pt idx="8">
                  <c:v>147</c:v>
                </c:pt>
                <c:pt idx="9">
                  <c:v>138</c:v>
                </c:pt>
                <c:pt idx="10">
                  <c:v>149</c:v>
                </c:pt>
                <c:pt idx="11">
                  <c:v>226</c:v>
                </c:pt>
                <c:pt idx="12">
                  <c:v>40</c:v>
                </c:pt>
                <c:pt idx="13">
                  <c:v>17</c:v>
                </c:pt>
                <c:pt idx="14">
                  <c:v>49</c:v>
                </c:pt>
                <c:pt idx="15">
                  <c:v>116</c:v>
                </c:pt>
                <c:pt idx="16">
                  <c:v>80</c:v>
                </c:pt>
                <c:pt idx="17">
                  <c:v>26.78</c:v>
                </c:pt>
                <c:pt idx="18">
                  <c:v>14</c:v>
                </c:pt>
                <c:pt idx="19">
                  <c:v>8</c:v>
                </c:pt>
                <c:pt idx="20">
                  <c:v>30</c:v>
                </c:pt>
                <c:pt idx="21">
                  <c:v>31</c:v>
                </c:pt>
                <c:pt idx="22">
                  <c:v>0</c:v>
                </c:pt>
                <c:pt idx="23">
                  <c:v>10</c:v>
                </c:pt>
                <c:pt idx="2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General</c:formatCode>
                <c:ptCount val="25"/>
                <c:pt idx="0">
                  <c:v>50473.2</c:v>
                </c:pt>
                <c:pt idx="1">
                  <c:v>43495.1</c:v>
                </c:pt>
                <c:pt idx="2">
                  <c:v>38008</c:v>
                </c:pt>
                <c:pt idx="3">
                  <c:v>64223.3</c:v>
                </c:pt>
                <c:pt idx="4">
                  <c:v>52728.200000000004</c:v>
                </c:pt>
                <c:pt idx="5">
                  <c:v>21691.3</c:v>
                </c:pt>
                <c:pt idx="6">
                  <c:v>30218.2</c:v>
                </c:pt>
                <c:pt idx="7">
                  <c:v>31142.2</c:v>
                </c:pt>
                <c:pt idx="8">
                  <c:v>35429.800000000003</c:v>
                </c:pt>
                <c:pt idx="9">
                  <c:v>30890.5</c:v>
                </c:pt>
                <c:pt idx="10">
                  <c:v>15086.4</c:v>
                </c:pt>
                <c:pt idx="11">
                  <c:v>17781.599999999999</c:v>
                </c:pt>
                <c:pt idx="12">
                  <c:v>18828.099999999999</c:v>
                </c:pt>
                <c:pt idx="13">
                  <c:v>25578</c:v>
                </c:pt>
                <c:pt idx="14">
                  <c:v>30848</c:v>
                </c:pt>
                <c:pt idx="15">
                  <c:v>31881</c:v>
                </c:pt>
                <c:pt idx="16">
                  <c:v>35309</c:v>
                </c:pt>
                <c:pt idx="17">
                  <c:v>36941.800000000003</c:v>
                </c:pt>
                <c:pt idx="18">
                  <c:v>41458.5</c:v>
                </c:pt>
                <c:pt idx="19">
                  <c:v>26461.200000000001</c:v>
                </c:pt>
                <c:pt idx="20">
                  <c:v>45550</c:v>
                </c:pt>
                <c:pt idx="21">
                  <c:v>48368</c:v>
                </c:pt>
                <c:pt idx="22">
                  <c:v>31841</c:v>
                </c:pt>
                <c:pt idx="23">
                  <c:v>46124.6</c:v>
                </c:pt>
                <c:pt idx="24" formatCode="#,##0.0">
                  <c:v>4517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êcheu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CBA-4084-8A94-06720639F96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CBA-4084-8A94-06720639F96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CBA-4084-8A94-06720639F96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C20-4ED3-A783-8ADF36DBC64F}"/>
              </c:ext>
            </c:extLst>
          </c:dPt>
          <c:dLbls>
            <c:dLbl>
              <c:idx val="0"/>
              <c:layout>
                <c:manualLayout>
                  <c:x val="-0.12233415354330708"/>
                  <c:y val="0.16277214566929127"/>
                </c:manualLayout>
              </c:layout>
              <c:spPr>
                <a:noFill/>
                <a:ln w="31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ln w="12700" cmpd="sng"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BA-4084-8A94-06720639F9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 w="12700" cmpd="sng"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3"/>
                <c:pt idx="0">
                  <c:v>FR</c:v>
                </c:pt>
                <c:pt idx="1">
                  <c:v>NE</c:v>
                </c:pt>
                <c:pt idx="2">
                  <c:v>VD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</c:v>
                </c:pt>
                <c:pt idx="1">
                  <c:v>12</c:v>
                </c:pt>
                <c:pt idx="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BA-4084-8A94-06720639F96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0002.800000000003</c:v>
                </c:pt>
                <c:pt idx="1">
                  <c:v>8963.9000000000015</c:v>
                </c:pt>
                <c:pt idx="2">
                  <c:v>8481</c:v>
                </c:pt>
                <c:pt idx="3">
                  <c:v>10556.699999999997</c:v>
                </c:pt>
                <c:pt idx="4">
                  <c:v>4707.7999999999956</c:v>
                </c:pt>
                <c:pt idx="5">
                  <c:v>2789.7000000000007</c:v>
                </c:pt>
                <c:pt idx="6">
                  <c:v>4520</c:v>
                </c:pt>
                <c:pt idx="7">
                  <c:v>6551</c:v>
                </c:pt>
                <c:pt idx="8">
                  <c:v>9196</c:v>
                </c:pt>
                <c:pt idx="9">
                  <c:v>6099</c:v>
                </c:pt>
                <c:pt idx="10">
                  <c:v>7760</c:v>
                </c:pt>
                <c:pt idx="11">
                  <c:v>5726</c:v>
                </c:pt>
                <c:pt idx="12">
                  <c:v>6008</c:v>
                </c:pt>
                <c:pt idx="13">
                  <c:v>5311</c:v>
                </c:pt>
                <c:pt idx="14">
                  <c:v>6706</c:v>
                </c:pt>
                <c:pt idx="15">
                  <c:v>6956</c:v>
                </c:pt>
                <c:pt idx="16">
                  <c:v>6375</c:v>
                </c:pt>
                <c:pt idx="17">
                  <c:v>5594.3019999999997</c:v>
                </c:pt>
                <c:pt idx="18">
                  <c:v>8475</c:v>
                </c:pt>
                <c:pt idx="19">
                  <c:v>5707</c:v>
                </c:pt>
                <c:pt idx="20">
                  <c:v>9405</c:v>
                </c:pt>
                <c:pt idx="21">
                  <c:v>7131</c:v>
                </c:pt>
                <c:pt idx="22">
                  <c:v>6146</c:v>
                </c:pt>
                <c:pt idx="23">
                  <c:v>6152</c:v>
                </c:pt>
                <c:pt idx="24">
                  <c:v>7550.5005000000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25</c:v>
                </c:pt>
                <c:pt idx="1">
                  <c:v>66</c:v>
                </c:pt>
                <c:pt idx="2">
                  <c:v>50</c:v>
                </c:pt>
                <c:pt idx="3">
                  <c:v>1568</c:v>
                </c:pt>
                <c:pt idx="4">
                  <c:v>503</c:v>
                </c:pt>
                <c:pt idx="5">
                  <c:v>325</c:v>
                </c:pt>
                <c:pt idx="6">
                  <c:v>1205.9000000000001</c:v>
                </c:pt>
                <c:pt idx="7">
                  <c:v>384.7</c:v>
                </c:pt>
                <c:pt idx="8">
                  <c:v>125.3</c:v>
                </c:pt>
                <c:pt idx="9">
                  <c:v>133.6</c:v>
                </c:pt>
                <c:pt idx="10">
                  <c:v>345</c:v>
                </c:pt>
                <c:pt idx="11">
                  <c:v>162.9</c:v>
                </c:pt>
                <c:pt idx="12">
                  <c:v>72.900000000000006</c:v>
                </c:pt>
                <c:pt idx="13">
                  <c:v>41</c:v>
                </c:pt>
                <c:pt idx="14">
                  <c:v>65.5</c:v>
                </c:pt>
                <c:pt idx="15">
                  <c:v>153</c:v>
                </c:pt>
                <c:pt idx="16">
                  <c:v>188</c:v>
                </c:pt>
                <c:pt idx="17">
                  <c:v>68.7</c:v>
                </c:pt>
                <c:pt idx="18">
                  <c:v>124.7</c:v>
                </c:pt>
                <c:pt idx="19">
                  <c:v>75.2</c:v>
                </c:pt>
                <c:pt idx="20">
                  <c:v>132</c:v>
                </c:pt>
                <c:pt idx="21">
                  <c:v>43</c:v>
                </c:pt>
                <c:pt idx="22">
                  <c:v>224</c:v>
                </c:pt>
                <c:pt idx="23">
                  <c:v>209</c:v>
                </c:pt>
                <c:pt idx="24">
                  <c:v>7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2</c:v>
                </c:pt>
                <c:pt idx="5">
                  <c:v>11</c:v>
                </c:pt>
                <c:pt idx="6">
                  <c:v>3</c:v>
                </c:pt>
                <c:pt idx="7">
                  <c:v>37</c:v>
                </c:pt>
                <c:pt idx="8">
                  <c:v>13</c:v>
                </c:pt>
                <c:pt idx="9">
                  <c:v>6</c:v>
                </c:pt>
                <c:pt idx="10">
                  <c:v>54</c:v>
                </c:pt>
                <c:pt idx="11">
                  <c:v>34</c:v>
                </c:pt>
                <c:pt idx="12">
                  <c:v>116</c:v>
                </c:pt>
                <c:pt idx="13">
                  <c:v>76</c:v>
                </c:pt>
                <c:pt idx="14">
                  <c:v>17</c:v>
                </c:pt>
                <c:pt idx="15">
                  <c:v>58</c:v>
                </c:pt>
                <c:pt idx="16">
                  <c:v>23</c:v>
                </c:pt>
                <c:pt idx="17">
                  <c:v>17.73</c:v>
                </c:pt>
                <c:pt idx="18">
                  <c:v>52</c:v>
                </c:pt>
                <c:pt idx="19">
                  <c:v>80</c:v>
                </c:pt>
                <c:pt idx="20">
                  <c:v>28</c:v>
                </c:pt>
                <c:pt idx="21">
                  <c:v>19</c:v>
                </c:pt>
                <c:pt idx="22">
                  <c:v>53</c:v>
                </c:pt>
                <c:pt idx="23">
                  <c:v>196</c:v>
                </c:pt>
                <c:pt idx="24">
                  <c:v>73.25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7755</c:v>
                </c:pt>
                <c:pt idx="1">
                  <c:v>7767.6</c:v>
                </c:pt>
                <c:pt idx="2">
                  <c:v>6136.4000000000005</c:v>
                </c:pt>
                <c:pt idx="3">
                  <c:v>9305.1999999999989</c:v>
                </c:pt>
                <c:pt idx="4">
                  <c:v>6923.1499999999987</c:v>
                </c:pt>
                <c:pt idx="5">
                  <c:v>8200.7000000000007</c:v>
                </c:pt>
                <c:pt idx="6">
                  <c:v>5320.7999999999993</c:v>
                </c:pt>
                <c:pt idx="7">
                  <c:v>8337.7999999999993</c:v>
                </c:pt>
                <c:pt idx="8">
                  <c:v>8808.2000000000007</c:v>
                </c:pt>
                <c:pt idx="9">
                  <c:v>7169.6</c:v>
                </c:pt>
                <c:pt idx="10">
                  <c:v>9510.0000000000018</c:v>
                </c:pt>
                <c:pt idx="11">
                  <c:v>9029.1999999999989</c:v>
                </c:pt>
                <c:pt idx="12">
                  <c:v>10250.9</c:v>
                </c:pt>
                <c:pt idx="13">
                  <c:v>12115</c:v>
                </c:pt>
                <c:pt idx="14">
                  <c:v>12151.9</c:v>
                </c:pt>
                <c:pt idx="15">
                  <c:v>19294</c:v>
                </c:pt>
                <c:pt idx="16">
                  <c:v>11433</c:v>
                </c:pt>
                <c:pt idx="17">
                  <c:v>13110.1</c:v>
                </c:pt>
                <c:pt idx="18">
                  <c:v>13739.800000000001</c:v>
                </c:pt>
                <c:pt idx="19">
                  <c:v>10298.600000000002</c:v>
                </c:pt>
                <c:pt idx="20">
                  <c:v>7952.24</c:v>
                </c:pt>
                <c:pt idx="21">
                  <c:v>7429</c:v>
                </c:pt>
                <c:pt idx="22">
                  <c:v>11407</c:v>
                </c:pt>
                <c:pt idx="23">
                  <c:v>15681</c:v>
                </c:pt>
                <c:pt idx="24">
                  <c:v>125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9180</c:v>
                </c:pt>
                <c:pt idx="1">
                  <c:v>10495.4</c:v>
                </c:pt>
                <c:pt idx="2">
                  <c:v>11883.599999999999</c:v>
                </c:pt>
                <c:pt idx="3">
                  <c:v>13497.800000000001</c:v>
                </c:pt>
                <c:pt idx="4">
                  <c:v>11530.850000000002</c:v>
                </c:pt>
                <c:pt idx="5">
                  <c:v>15102.3</c:v>
                </c:pt>
                <c:pt idx="6">
                  <c:v>14259</c:v>
                </c:pt>
                <c:pt idx="7">
                  <c:v>14377</c:v>
                </c:pt>
                <c:pt idx="8">
                  <c:v>13720</c:v>
                </c:pt>
                <c:pt idx="9">
                  <c:v>12147</c:v>
                </c:pt>
                <c:pt idx="10">
                  <c:v>13818</c:v>
                </c:pt>
                <c:pt idx="11">
                  <c:v>9541</c:v>
                </c:pt>
                <c:pt idx="12">
                  <c:v>11686</c:v>
                </c:pt>
                <c:pt idx="13">
                  <c:v>11912</c:v>
                </c:pt>
                <c:pt idx="14">
                  <c:v>12967</c:v>
                </c:pt>
                <c:pt idx="15">
                  <c:v>17225</c:v>
                </c:pt>
                <c:pt idx="16">
                  <c:v>16210</c:v>
                </c:pt>
                <c:pt idx="17">
                  <c:v>12742.890000000003</c:v>
                </c:pt>
                <c:pt idx="18">
                  <c:v>9257</c:v>
                </c:pt>
                <c:pt idx="19">
                  <c:v>8310</c:v>
                </c:pt>
                <c:pt idx="20">
                  <c:v>7249</c:v>
                </c:pt>
                <c:pt idx="21">
                  <c:v>9837</c:v>
                </c:pt>
                <c:pt idx="22">
                  <c:v>12125</c:v>
                </c:pt>
                <c:pt idx="23">
                  <c:v>10118</c:v>
                </c:pt>
                <c:pt idx="24">
                  <c:v>9108.43239999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7824</c:v>
                </c:pt>
                <c:pt idx="1">
                  <c:v>19158.599999999999</c:v>
                </c:pt>
                <c:pt idx="2">
                  <c:v>29378.3</c:v>
                </c:pt>
                <c:pt idx="3">
                  <c:v>30112</c:v>
                </c:pt>
                <c:pt idx="4">
                  <c:v>28965</c:v>
                </c:pt>
                <c:pt idx="5">
                  <c:v>26810.5</c:v>
                </c:pt>
                <c:pt idx="6">
                  <c:v>34438.300000000003</c:v>
                </c:pt>
                <c:pt idx="7">
                  <c:v>37640.300000000003</c:v>
                </c:pt>
                <c:pt idx="8">
                  <c:v>23503.5</c:v>
                </c:pt>
                <c:pt idx="9">
                  <c:v>30625</c:v>
                </c:pt>
                <c:pt idx="10">
                  <c:v>22516</c:v>
                </c:pt>
                <c:pt idx="11">
                  <c:v>22376</c:v>
                </c:pt>
                <c:pt idx="12">
                  <c:v>17718</c:v>
                </c:pt>
                <c:pt idx="13">
                  <c:v>18726</c:v>
                </c:pt>
                <c:pt idx="14">
                  <c:v>12372.9</c:v>
                </c:pt>
                <c:pt idx="15">
                  <c:v>12085</c:v>
                </c:pt>
                <c:pt idx="16">
                  <c:v>8101</c:v>
                </c:pt>
                <c:pt idx="17">
                  <c:v>8432</c:v>
                </c:pt>
                <c:pt idx="18">
                  <c:v>7919</c:v>
                </c:pt>
                <c:pt idx="19">
                  <c:v>4381</c:v>
                </c:pt>
                <c:pt idx="20">
                  <c:v>7170</c:v>
                </c:pt>
                <c:pt idx="21">
                  <c:v>3362</c:v>
                </c:pt>
                <c:pt idx="22">
                  <c:v>3783</c:v>
                </c:pt>
                <c:pt idx="23">
                  <c:v>4507</c:v>
                </c:pt>
                <c:pt idx="24">
                  <c:v>9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0</c:v>
                </c:pt>
                <c:pt idx="1">
                  <c:v>0.40000000000145519</c:v>
                </c:pt>
                <c:pt idx="2">
                  <c:v>1.7000000000007276</c:v>
                </c:pt>
                <c:pt idx="3">
                  <c:v>22</c:v>
                </c:pt>
                <c:pt idx="4">
                  <c:v>24</c:v>
                </c:pt>
                <c:pt idx="5">
                  <c:v>5.5</c:v>
                </c:pt>
                <c:pt idx="6">
                  <c:v>6</c:v>
                </c:pt>
                <c:pt idx="7">
                  <c:v>10</c:v>
                </c:pt>
                <c:pt idx="8">
                  <c:v>42</c:v>
                </c:pt>
                <c:pt idx="9">
                  <c:v>24</c:v>
                </c:pt>
                <c:pt idx="10">
                  <c:v>38</c:v>
                </c:pt>
                <c:pt idx="11">
                  <c:v>10</c:v>
                </c:pt>
                <c:pt idx="12">
                  <c:v>30</c:v>
                </c:pt>
                <c:pt idx="13">
                  <c:v>107</c:v>
                </c:pt>
                <c:pt idx="14">
                  <c:v>30</c:v>
                </c:pt>
                <c:pt idx="15">
                  <c:v>14</c:v>
                </c:pt>
                <c:pt idx="16">
                  <c:v>7</c:v>
                </c:pt>
                <c:pt idx="17">
                  <c:v>23.4</c:v>
                </c:pt>
                <c:pt idx="18">
                  <c:v>71</c:v>
                </c:pt>
                <c:pt idx="19">
                  <c:v>41</c:v>
                </c:pt>
                <c:pt idx="20">
                  <c:v>59</c:v>
                </c:pt>
                <c:pt idx="21">
                  <c:v>16</c:v>
                </c:pt>
                <c:pt idx="22">
                  <c:v>22</c:v>
                </c:pt>
                <c:pt idx="23">
                  <c:v>6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85</c:v>
                </c:pt>
                <c:pt idx="1">
                  <c:v>41</c:v>
                </c:pt>
                <c:pt idx="2">
                  <c:v>372</c:v>
                </c:pt>
                <c:pt idx="3">
                  <c:v>378</c:v>
                </c:pt>
                <c:pt idx="4">
                  <c:v>1122.1199999999999</c:v>
                </c:pt>
                <c:pt idx="5">
                  <c:v>93.5</c:v>
                </c:pt>
                <c:pt idx="6">
                  <c:v>111.4</c:v>
                </c:pt>
                <c:pt idx="7">
                  <c:v>255.2</c:v>
                </c:pt>
                <c:pt idx="8">
                  <c:v>245</c:v>
                </c:pt>
                <c:pt idx="9">
                  <c:v>153.69999999999999</c:v>
                </c:pt>
                <c:pt idx="10">
                  <c:v>357</c:v>
                </c:pt>
                <c:pt idx="11">
                  <c:v>660</c:v>
                </c:pt>
                <c:pt idx="12">
                  <c:v>399</c:v>
                </c:pt>
                <c:pt idx="13">
                  <c:v>770</c:v>
                </c:pt>
                <c:pt idx="14">
                  <c:v>485.5</c:v>
                </c:pt>
                <c:pt idx="15">
                  <c:v>547</c:v>
                </c:pt>
                <c:pt idx="16">
                  <c:v>278</c:v>
                </c:pt>
                <c:pt idx="17">
                  <c:v>695</c:v>
                </c:pt>
                <c:pt idx="18">
                  <c:v>1050</c:v>
                </c:pt>
                <c:pt idx="19">
                  <c:v>2011.5</c:v>
                </c:pt>
                <c:pt idx="20">
                  <c:v>2054</c:v>
                </c:pt>
                <c:pt idx="21">
                  <c:v>795</c:v>
                </c:pt>
                <c:pt idx="22">
                  <c:v>1749</c:v>
                </c:pt>
                <c:pt idx="23">
                  <c:v>7737</c:v>
                </c:pt>
                <c:pt idx="24">
                  <c:v>4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74</c:v>
                </c:pt>
                <c:pt idx="3">
                  <c:v>4</c:v>
                </c:pt>
                <c:pt idx="4">
                  <c:v>23.880000000000109</c:v>
                </c:pt>
                <c:pt idx="5">
                  <c:v>0.5</c:v>
                </c:pt>
                <c:pt idx="6">
                  <c:v>19</c:v>
                </c:pt>
                <c:pt idx="7">
                  <c:v>42</c:v>
                </c:pt>
                <c:pt idx="8">
                  <c:v>60</c:v>
                </c:pt>
                <c:pt idx="9">
                  <c:v>86</c:v>
                </c:pt>
                <c:pt idx="10">
                  <c:v>87</c:v>
                </c:pt>
                <c:pt idx="11">
                  <c:v>113</c:v>
                </c:pt>
                <c:pt idx="12">
                  <c:v>101</c:v>
                </c:pt>
                <c:pt idx="13">
                  <c:v>210</c:v>
                </c:pt>
                <c:pt idx="14">
                  <c:v>162</c:v>
                </c:pt>
                <c:pt idx="15">
                  <c:v>316</c:v>
                </c:pt>
                <c:pt idx="16">
                  <c:v>329</c:v>
                </c:pt>
                <c:pt idx="17">
                  <c:v>498.70000000000005</c:v>
                </c:pt>
                <c:pt idx="18">
                  <c:v>207</c:v>
                </c:pt>
                <c:pt idx="19">
                  <c:v>379</c:v>
                </c:pt>
                <c:pt idx="20">
                  <c:v>443</c:v>
                </c:pt>
                <c:pt idx="21">
                  <c:v>809</c:v>
                </c:pt>
                <c:pt idx="22">
                  <c:v>711</c:v>
                </c:pt>
                <c:pt idx="23">
                  <c:v>452</c:v>
                </c:pt>
                <c:pt idx="24">
                  <c:v>656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36.4</c:v>
                </c:pt>
                <c:pt idx="1">
                  <c:v>20</c:v>
                </c:pt>
                <c:pt idx="2">
                  <c:v>15</c:v>
                </c:pt>
                <c:pt idx="3">
                  <c:v>31.5</c:v>
                </c:pt>
                <c:pt idx="4">
                  <c:v>71.5</c:v>
                </c:pt>
                <c:pt idx="5">
                  <c:v>54</c:v>
                </c:pt>
                <c:pt idx="6">
                  <c:v>91.5</c:v>
                </c:pt>
                <c:pt idx="7">
                  <c:v>44</c:v>
                </c:pt>
                <c:pt idx="8">
                  <c:v>69.8</c:v>
                </c:pt>
                <c:pt idx="9">
                  <c:v>42</c:v>
                </c:pt>
                <c:pt idx="10">
                  <c:v>7.5</c:v>
                </c:pt>
                <c:pt idx="11">
                  <c:v>44.5</c:v>
                </c:pt>
                <c:pt idx="12">
                  <c:v>29</c:v>
                </c:pt>
                <c:pt idx="13">
                  <c:v>18</c:v>
                </c:pt>
                <c:pt idx="14">
                  <c:v>2</c:v>
                </c:pt>
                <c:pt idx="15">
                  <c:v>7</c:v>
                </c:pt>
                <c:pt idx="16">
                  <c:v>4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aptu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êcheu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372-4382-9CC6-6C11B6B0567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372-4382-9CC6-6C11B6B0567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372-4382-9CC6-6C11B6B0567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372-4382-9CC6-6C11B6B05673}"/>
              </c:ext>
            </c:extLst>
          </c:dPt>
          <c:dLbls>
            <c:dLbl>
              <c:idx val="0"/>
              <c:layout>
                <c:manualLayout>
                  <c:x val="-8.9000820209973824E-2"/>
                  <c:y val="0.14089714566929132"/>
                </c:manualLayout>
              </c:layout>
              <c:spPr>
                <a:noFill/>
                <a:ln w="31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ln w="12700" cmpd="sng"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372-4382-9CC6-6C11B6B056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 w="12700" cmpd="sng"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3"/>
                <c:pt idx="0">
                  <c:v>FR</c:v>
                </c:pt>
                <c:pt idx="1">
                  <c:v>NE</c:v>
                </c:pt>
                <c:pt idx="2">
                  <c:v>VD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16162</c:v>
                </c:pt>
                <c:pt idx="1">
                  <c:v>45043</c:v>
                </c:pt>
                <c:pt idx="2" formatCode="0">
                  <c:v>38040.6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372-4382-9CC6-6C11B6B0567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-0.39999999999999858</c:v>
                </c:pt>
                <c:pt idx="1">
                  <c:v>0</c:v>
                </c:pt>
                <c:pt idx="2">
                  <c:v>2</c:v>
                </c:pt>
                <c:pt idx="3">
                  <c:v>1.5</c:v>
                </c:pt>
                <c:pt idx="4">
                  <c:v>0.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8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0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101</c:v>
                </c:pt>
                <c:pt idx="1">
                  <c:v>105</c:v>
                </c:pt>
                <c:pt idx="2">
                  <c:v>206</c:v>
                </c:pt>
                <c:pt idx="3">
                  <c:v>1306.5</c:v>
                </c:pt>
                <c:pt idx="4">
                  <c:v>616.70000000000005</c:v>
                </c:pt>
                <c:pt idx="5">
                  <c:v>91.5</c:v>
                </c:pt>
                <c:pt idx="6">
                  <c:v>13</c:v>
                </c:pt>
                <c:pt idx="7">
                  <c:v>39.330000000000005</c:v>
                </c:pt>
                <c:pt idx="8">
                  <c:v>70.8</c:v>
                </c:pt>
                <c:pt idx="9">
                  <c:v>39</c:v>
                </c:pt>
                <c:pt idx="10">
                  <c:v>32.799999999999997</c:v>
                </c:pt>
                <c:pt idx="11">
                  <c:v>37</c:v>
                </c:pt>
                <c:pt idx="12">
                  <c:v>39</c:v>
                </c:pt>
                <c:pt idx="13">
                  <c:v>32</c:v>
                </c:pt>
                <c:pt idx="14">
                  <c:v>34</c:v>
                </c:pt>
                <c:pt idx="15">
                  <c:v>6</c:v>
                </c:pt>
                <c:pt idx="16">
                  <c:v>24</c:v>
                </c:pt>
                <c:pt idx="17">
                  <c:v>51</c:v>
                </c:pt>
                <c:pt idx="18">
                  <c:v>359.5</c:v>
                </c:pt>
                <c:pt idx="19">
                  <c:v>425</c:v>
                </c:pt>
                <c:pt idx="20">
                  <c:v>103</c:v>
                </c:pt>
                <c:pt idx="21">
                  <c:v>35</c:v>
                </c:pt>
                <c:pt idx="22">
                  <c:v>104</c:v>
                </c:pt>
                <c:pt idx="23">
                  <c:v>698</c:v>
                </c:pt>
                <c:pt idx="24">
                  <c:v>83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82</c:f>
              <c:numCache>
                <c:formatCode>General</c:formatCode>
                <c:ptCount val="81"/>
                <c:pt idx="0">
                  <c:v>1944</c:v>
                </c:pt>
                <c:pt idx="1">
                  <c:v>1945</c:v>
                </c:pt>
                <c:pt idx="2">
                  <c:v>1946</c:v>
                </c:pt>
                <c:pt idx="3">
                  <c:v>1947</c:v>
                </c:pt>
                <c:pt idx="4">
                  <c:v>1948</c:v>
                </c:pt>
                <c:pt idx="5">
                  <c:v>1949</c:v>
                </c:pt>
                <c:pt idx="6">
                  <c:v>1950</c:v>
                </c:pt>
                <c:pt idx="7">
                  <c:v>1951</c:v>
                </c:pt>
                <c:pt idx="8">
                  <c:v>1952</c:v>
                </c:pt>
                <c:pt idx="9">
                  <c:v>1953</c:v>
                </c:pt>
                <c:pt idx="10">
                  <c:v>1954</c:v>
                </c:pt>
                <c:pt idx="11">
                  <c:v>1955</c:v>
                </c:pt>
                <c:pt idx="12">
                  <c:v>1956</c:v>
                </c:pt>
                <c:pt idx="13">
                  <c:v>1957</c:v>
                </c:pt>
                <c:pt idx="14">
                  <c:v>1958</c:v>
                </c:pt>
                <c:pt idx="15">
                  <c:v>1959</c:v>
                </c:pt>
                <c:pt idx="16">
                  <c:v>1960</c:v>
                </c:pt>
                <c:pt idx="17">
                  <c:v>1961</c:v>
                </c:pt>
                <c:pt idx="18">
                  <c:v>1962</c:v>
                </c:pt>
                <c:pt idx="19">
                  <c:v>1963</c:v>
                </c:pt>
                <c:pt idx="20">
                  <c:v>1964</c:v>
                </c:pt>
                <c:pt idx="21">
                  <c:v>1965</c:v>
                </c:pt>
                <c:pt idx="22">
                  <c:v>1966</c:v>
                </c:pt>
                <c:pt idx="23">
                  <c:v>1967</c:v>
                </c:pt>
                <c:pt idx="24">
                  <c:v>1968</c:v>
                </c:pt>
                <c:pt idx="25">
                  <c:v>1969</c:v>
                </c:pt>
                <c:pt idx="26">
                  <c:v>1970</c:v>
                </c:pt>
                <c:pt idx="27">
                  <c:v>1971</c:v>
                </c:pt>
                <c:pt idx="28">
                  <c:v>1972</c:v>
                </c:pt>
                <c:pt idx="29">
                  <c:v>1973</c:v>
                </c:pt>
                <c:pt idx="30">
                  <c:v>1974</c:v>
                </c:pt>
                <c:pt idx="31">
                  <c:v>1975</c:v>
                </c:pt>
                <c:pt idx="32">
                  <c:v>1976</c:v>
                </c:pt>
                <c:pt idx="33">
                  <c:v>1977</c:v>
                </c:pt>
                <c:pt idx="34">
                  <c:v>1978</c:v>
                </c:pt>
                <c:pt idx="35">
                  <c:v>1979</c:v>
                </c:pt>
                <c:pt idx="36">
                  <c:v>1980</c:v>
                </c:pt>
                <c:pt idx="37">
                  <c:v>1981</c:v>
                </c:pt>
                <c:pt idx="38">
                  <c:v>1982</c:v>
                </c:pt>
                <c:pt idx="39">
                  <c:v>1983</c:v>
                </c:pt>
                <c:pt idx="40">
                  <c:v>1984</c:v>
                </c:pt>
                <c:pt idx="41">
                  <c:v>1985</c:v>
                </c:pt>
                <c:pt idx="42">
                  <c:v>1986</c:v>
                </c:pt>
                <c:pt idx="43">
                  <c:v>1987</c:v>
                </c:pt>
                <c:pt idx="44">
                  <c:v>1988</c:v>
                </c:pt>
                <c:pt idx="45">
                  <c:v>1989</c:v>
                </c:pt>
                <c:pt idx="46">
                  <c:v>1990</c:v>
                </c:pt>
                <c:pt idx="47">
                  <c:v>1991</c:v>
                </c:pt>
                <c:pt idx="48">
                  <c:v>1992</c:v>
                </c:pt>
                <c:pt idx="49">
                  <c:v>1993</c:v>
                </c:pt>
                <c:pt idx="50">
                  <c:v>1994</c:v>
                </c:pt>
                <c:pt idx="51">
                  <c:v>1995</c:v>
                </c:pt>
                <c:pt idx="52">
                  <c:v>1996</c:v>
                </c:pt>
                <c:pt idx="53">
                  <c:v>1997</c:v>
                </c:pt>
                <c:pt idx="54">
                  <c:v>1998</c:v>
                </c:pt>
                <c:pt idx="55">
                  <c:v>1999</c:v>
                </c:pt>
                <c:pt idx="56">
                  <c:v>2000</c:v>
                </c:pt>
                <c:pt idx="57">
                  <c:v>2001</c:v>
                </c:pt>
                <c:pt idx="58">
                  <c:v>2002</c:v>
                </c:pt>
                <c:pt idx="59">
                  <c:v>2003</c:v>
                </c:pt>
                <c:pt idx="60">
                  <c:v>2004</c:v>
                </c:pt>
                <c:pt idx="61">
                  <c:v>2005</c:v>
                </c:pt>
                <c:pt idx="62">
                  <c:v>2006</c:v>
                </c:pt>
                <c:pt idx="63">
                  <c:v>2007</c:v>
                </c:pt>
                <c:pt idx="64">
                  <c:v>2008</c:v>
                </c:pt>
                <c:pt idx="65">
                  <c:v>2009</c:v>
                </c:pt>
                <c:pt idx="66">
                  <c:v>2010</c:v>
                </c:pt>
                <c:pt idx="67">
                  <c:v>2011</c:v>
                </c:pt>
                <c:pt idx="68">
                  <c:v>2012</c:v>
                </c:pt>
                <c:pt idx="69">
                  <c:v>2013</c:v>
                </c:pt>
                <c:pt idx="70">
                  <c:v>2014</c:v>
                </c:pt>
                <c:pt idx="71">
                  <c:v>2015</c:v>
                </c:pt>
                <c:pt idx="72">
                  <c:v>2016</c:v>
                </c:pt>
                <c:pt idx="73">
                  <c:v>2017</c:v>
                </c:pt>
                <c:pt idx="74">
                  <c:v>2018</c:v>
                </c:pt>
                <c:pt idx="75">
                  <c:v>2019</c:v>
                </c:pt>
                <c:pt idx="76">
                  <c:v>2020</c:v>
                </c:pt>
                <c:pt idx="77">
                  <c:v>2021</c:v>
                </c:pt>
                <c:pt idx="78">
                  <c:v>2022</c:v>
                </c:pt>
                <c:pt idx="79">
                  <c:v>2023</c:v>
                </c:pt>
                <c:pt idx="80">
                  <c:v>2024</c:v>
                </c:pt>
              </c:numCache>
            </c:numRef>
          </c:cat>
          <c:val>
            <c:numRef>
              <c:f>Feuil1!$B$2:$B$82</c:f>
              <c:numCache>
                <c:formatCode>#,##0</c:formatCode>
                <c:ptCount val="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6</c:v>
                </c:pt>
                <c:pt idx="56">
                  <c:v>101</c:v>
                </c:pt>
                <c:pt idx="57">
                  <c:v>105</c:v>
                </c:pt>
                <c:pt idx="58">
                  <c:v>206</c:v>
                </c:pt>
                <c:pt idx="59">
                  <c:v>1306.5</c:v>
                </c:pt>
                <c:pt idx="60">
                  <c:v>616.70000000000005</c:v>
                </c:pt>
                <c:pt idx="61">
                  <c:v>91.5</c:v>
                </c:pt>
                <c:pt idx="62">
                  <c:v>13</c:v>
                </c:pt>
                <c:pt idx="63">
                  <c:v>39.330000000000005</c:v>
                </c:pt>
                <c:pt idx="64">
                  <c:v>70.8</c:v>
                </c:pt>
                <c:pt idx="65">
                  <c:v>39</c:v>
                </c:pt>
                <c:pt idx="66">
                  <c:v>32.799999999999997</c:v>
                </c:pt>
                <c:pt idx="67">
                  <c:v>37</c:v>
                </c:pt>
                <c:pt idx="68">
                  <c:v>39</c:v>
                </c:pt>
                <c:pt idx="69">
                  <c:v>32</c:v>
                </c:pt>
                <c:pt idx="70">
                  <c:v>34</c:v>
                </c:pt>
                <c:pt idx="71">
                  <c:v>6</c:v>
                </c:pt>
                <c:pt idx="72">
                  <c:v>24</c:v>
                </c:pt>
                <c:pt idx="73">
                  <c:v>51</c:v>
                </c:pt>
                <c:pt idx="74">
                  <c:v>359.5</c:v>
                </c:pt>
                <c:pt idx="75">
                  <c:v>425</c:v>
                </c:pt>
                <c:pt idx="76">
                  <c:v>103</c:v>
                </c:pt>
                <c:pt idx="77">
                  <c:v>35</c:v>
                </c:pt>
                <c:pt idx="78">
                  <c:v>104</c:v>
                </c:pt>
                <c:pt idx="79">
                  <c:v>698</c:v>
                </c:pt>
                <c:pt idx="80">
                  <c:v>83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2-44F3-B821-4B5103C2B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 noProof="0" dirty="0"/>
              <a:t>Permis annue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êcheu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CBA-4084-8A94-06720639F96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CBA-4084-8A94-06720639F96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CBA-4084-8A94-06720639F96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C20-4ED3-A783-8ADF36DBC64F}"/>
              </c:ext>
            </c:extLst>
          </c:dPt>
          <c:dLbls>
            <c:dLbl>
              <c:idx val="0"/>
              <c:layout>
                <c:manualLayout>
                  <c:x val="-0.16567581900622153"/>
                  <c:y val="0.18902574510691225"/>
                </c:manualLayout>
              </c:layout>
              <c:spPr>
                <a:noFill/>
                <a:ln w="31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ln w="12700" cmpd="sng"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BA-4084-8A94-06720639F9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 w="12700" cmpd="sng"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4</c:f>
              <c:strCache>
                <c:ptCount val="3"/>
                <c:pt idx="0">
                  <c:v>FR</c:v>
                </c:pt>
                <c:pt idx="1">
                  <c:v>VD</c:v>
                </c:pt>
                <c:pt idx="2">
                  <c:v>NE</c:v>
                </c:pt>
              </c:strCache>
            </c:strRef>
          </c:cat>
          <c:val>
            <c:numRef>
              <c:f>Feuil1!$B$2:$B$4</c:f>
              <c:numCache>
                <c:formatCode>#,##0</c:formatCode>
                <c:ptCount val="3"/>
                <c:pt idx="0">
                  <c:v>381</c:v>
                </c:pt>
                <c:pt idx="1">
                  <c:v>434</c:v>
                </c:pt>
                <c:pt idx="2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BA-4084-8A94-06720639F96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aptures</a:t>
            </a:r>
          </a:p>
        </c:rich>
      </c:tx>
      <c:layout>
        <c:manualLayout>
          <c:xMode val="edge"/>
          <c:yMode val="edge"/>
          <c:x val="0.40217198693770095"/>
          <c:y val="2.04879079668117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êcheurs</c:v>
                </c:pt>
              </c:strCache>
            </c:strRef>
          </c:tx>
          <c:explosion val="1"/>
          <c:dPt>
            <c:idx val="0"/>
            <c:bubble3D val="0"/>
            <c:explosion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372-4382-9CC6-6C11B6B05673}"/>
              </c:ext>
            </c:extLst>
          </c:dPt>
          <c:dPt>
            <c:idx val="1"/>
            <c:bubble3D val="0"/>
            <c:explosion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372-4382-9CC6-6C11B6B05673}"/>
              </c:ext>
            </c:extLst>
          </c:dPt>
          <c:dPt>
            <c:idx val="2"/>
            <c:bubble3D val="0"/>
            <c:explosion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372-4382-9CC6-6C11B6B0567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372-4382-9CC6-6C11B6B05673}"/>
              </c:ext>
            </c:extLst>
          </c:dPt>
          <c:dLbls>
            <c:dLbl>
              <c:idx val="0"/>
              <c:layout>
                <c:manualLayout>
                  <c:x val="-0.17233415354330708"/>
                  <c:y val="0.14089714566929135"/>
                </c:manualLayout>
              </c:layout>
              <c:spPr>
                <a:noFill/>
                <a:ln w="31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ln w="12700" cmpd="sng"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372-4382-9CC6-6C11B6B056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 w="12700" cmpd="sng"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4</c:f>
              <c:strCache>
                <c:ptCount val="3"/>
                <c:pt idx="0">
                  <c:v>FR</c:v>
                </c:pt>
                <c:pt idx="1">
                  <c:v>NE</c:v>
                </c:pt>
                <c:pt idx="2">
                  <c:v>VD</c:v>
                </c:pt>
              </c:strCache>
            </c:strRef>
          </c:cat>
          <c:val>
            <c:numRef>
              <c:f>Feuil1!$B$2:$B$4</c:f>
              <c:numCache>
                <c:formatCode>#,##0</c:formatCode>
                <c:ptCount val="3"/>
                <c:pt idx="0">
                  <c:v>6795.6079000000018</c:v>
                </c:pt>
                <c:pt idx="1">
                  <c:v>6595.3649999999998</c:v>
                </c:pt>
                <c:pt idx="2">
                  <c:v>7371.8499999999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372-4382-9CC6-6C11B6B0567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 dirty="0"/>
              <a:t>Permis</a:t>
            </a:r>
            <a:r>
              <a:rPr lang="fr-CH" baseline="0" dirty="0"/>
              <a:t> journaliers</a:t>
            </a:r>
            <a:endParaRPr lang="fr-CH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CH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êcheu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14-484D-AD2E-149700D7C3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14-484D-AD2E-149700D7C3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14-484D-AD2E-149700D7C3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14-484D-AD2E-149700D7C36D}"/>
              </c:ext>
            </c:extLst>
          </c:dPt>
          <c:dLbls>
            <c:dLbl>
              <c:idx val="0"/>
              <c:layout>
                <c:manualLayout>
                  <c:x val="-0.21640533680921212"/>
                  <c:y val="2.0776717693040347E-2"/>
                </c:manualLayout>
              </c:layout>
              <c:spPr>
                <a:noFill/>
                <a:ln w="31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ln w="12700" cmpd="sng"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C14-484D-AD2E-149700D7C36D}"/>
                </c:ext>
              </c:extLst>
            </c:dLbl>
            <c:dLbl>
              <c:idx val="1"/>
              <c:layout>
                <c:manualLayout>
                  <c:x val="0.14430932927987838"/>
                  <c:y val="-0.2035796835581954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C14-484D-AD2E-149700D7C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 w="12700" cmpd="sng"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4</c:f>
              <c:strCache>
                <c:ptCount val="3"/>
                <c:pt idx="0">
                  <c:v>FR</c:v>
                </c:pt>
                <c:pt idx="1">
                  <c:v>VD</c:v>
                </c:pt>
                <c:pt idx="2">
                  <c:v>NE</c:v>
                </c:pt>
              </c:strCache>
            </c:strRef>
          </c:cat>
          <c:val>
            <c:numRef>
              <c:f>Feuil1!$B$2:$B$4</c:f>
              <c:numCache>
                <c:formatCode>#,##0</c:formatCode>
                <c:ptCount val="3"/>
                <c:pt idx="0">
                  <c:v>839</c:v>
                </c:pt>
                <c:pt idx="1">
                  <c:v>417</c:v>
                </c:pt>
                <c:pt idx="2">
                  <c:v>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14-484D-AD2E-149700D7C36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0</c:formatCode>
                <c:ptCount val="25"/>
                <c:pt idx="0">
                  <c:v>320284.40000000002</c:v>
                </c:pt>
                <c:pt idx="1">
                  <c:v>308808.64999999997</c:v>
                </c:pt>
                <c:pt idx="2">
                  <c:v>287197.2</c:v>
                </c:pt>
                <c:pt idx="3">
                  <c:v>312868.8</c:v>
                </c:pt>
                <c:pt idx="4">
                  <c:v>281331.72000000003</c:v>
                </c:pt>
                <c:pt idx="5">
                  <c:v>248638.99999999997</c:v>
                </c:pt>
                <c:pt idx="6">
                  <c:v>249386.60000000003</c:v>
                </c:pt>
                <c:pt idx="7">
                  <c:v>264402.43000000005</c:v>
                </c:pt>
                <c:pt idx="8">
                  <c:v>287520.40000000002</c:v>
                </c:pt>
                <c:pt idx="9">
                  <c:v>286480.40000000002</c:v>
                </c:pt>
                <c:pt idx="10">
                  <c:v>296725.7</c:v>
                </c:pt>
                <c:pt idx="11">
                  <c:v>256376.50000000003</c:v>
                </c:pt>
                <c:pt idx="12">
                  <c:v>350968.1</c:v>
                </c:pt>
                <c:pt idx="13">
                  <c:v>360321</c:v>
                </c:pt>
                <c:pt idx="14">
                  <c:v>331125.89999999997</c:v>
                </c:pt>
                <c:pt idx="15">
                  <c:v>314237</c:v>
                </c:pt>
                <c:pt idx="16">
                  <c:v>338539.3</c:v>
                </c:pt>
                <c:pt idx="17">
                  <c:v>233527.10000000003</c:v>
                </c:pt>
                <c:pt idx="18">
                  <c:v>163063.90000000002</c:v>
                </c:pt>
                <c:pt idx="19">
                  <c:v>87292.5</c:v>
                </c:pt>
                <c:pt idx="20">
                  <c:v>132617</c:v>
                </c:pt>
                <c:pt idx="21">
                  <c:v>138648</c:v>
                </c:pt>
                <c:pt idx="22">
                  <c:v>91847</c:v>
                </c:pt>
                <c:pt idx="23">
                  <c:v>106036.09999999999</c:v>
                </c:pt>
                <c:pt idx="24" formatCode=".0">
                  <c:v>99245.199999999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8-4A09-92AA-5B992A92E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ax val="4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aptures (kg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Feuil1!$A$2:$A$26</c:f>
              <c:numCache>
                <c:formatCode>General</c:formatCod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numCache>
            </c:numRef>
          </c:cat>
          <c:val>
            <c:numRef>
              <c:f>Feuil1!$B$2:$B$26</c:f>
              <c:numCache>
                <c:formatCode>#,##0</c:formatCode>
                <c:ptCount val="25"/>
                <c:pt idx="0">
                  <c:v>21878.5</c:v>
                </c:pt>
                <c:pt idx="1">
                  <c:v>21701.750000000007</c:v>
                </c:pt>
                <c:pt idx="2">
                  <c:v>22668.799999999999</c:v>
                </c:pt>
                <c:pt idx="3">
                  <c:v>27089.699999999997</c:v>
                </c:pt>
                <c:pt idx="4">
                  <c:v>17607.979999999992</c:v>
                </c:pt>
                <c:pt idx="5">
                  <c:v>21831.500000000007</c:v>
                </c:pt>
                <c:pt idx="6">
                  <c:v>23109</c:v>
                </c:pt>
                <c:pt idx="7">
                  <c:v>23519</c:v>
                </c:pt>
                <c:pt idx="8">
                  <c:v>26490</c:v>
                </c:pt>
                <c:pt idx="9">
                  <c:v>21635</c:v>
                </c:pt>
                <c:pt idx="10">
                  <c:v>26902</c:v>
                </c:pt>
                <c:pt idx="11">
                  <c:v>19756</c:v>
                </c:pt>
                <c:pt idx="12">
                  <c:v>22579</c:v>
                </c:pt>
                <c:pt idx="13">
                  <c:v>21484</c:v>
                </c:pt>
                <c:pt idx="14">
                  <c:v>24833</c:v>
                </c:pt>
                <c:pt idx="15">
                  <c:v>30995</c:v>
                </c:pt>
                <c:pt idx="16">
                  <c:v>30383</c:v>
                </c:pt>
                <c:pt idx="17">
                  <c:v>25452.750000000004</c:v>
                </c:pt>
                <c:pt idx="18">
                  <c:v>25419.65</c:v>
                </c:pt>
                <c:pt idx="19">
                  <c:v>19871</c:v>
                </c:pt>
                <c:pt idx="20">
                  <c:v>23705</c:v>
                </c:pt>
                <c:pt idx="21">
                  <c:v>24316</c:v>
                </c:pt>
                <c:pt idx="22">
                  <c:v>23279</c:v>
                </c:pt>
                <c:pt idx="23">
                  <c:v>20028</c:v>
                </c:pt>
                <c:pt idx="24">
                  <c:v>20762.8229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8-4A09-92AA-5B992A92E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overlap val="-27"/>
        <c:axId val="1866291183"/>
        <c:axId val="1866283503"/>
      </c:barChart>
      <c:catAx>
        <c:axId val="1866291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83503"/>
        <c:crosses val="autoZero"/>
        <c:auto val="1"/>
        <c:lblAlgn val="ctr"/>
        <c:lblOffset val="100"/>
        <c:noMultiLvlLbl val="0"/>
      </c:catAx>
      <c:valAx>
        <c:axId val="186628350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 dirty="0"/>
                  <a:t>Captures</a:t>
                </a:r>
                <a:r>
                  <a:rPr lang="fr-CH" baseline="0" dirty="0"/>
                  <a:t> (kg)</a:t>
                </a:r>
              </a:p>
              <a:p>
                <a:pPr>
                  <a:defRPr/>
                </a:pPr>
                <a:endParaRPr lang="fr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6629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0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6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7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8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9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0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3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4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EBEBE75-8CF3-B85D-DD58-3917E0CAC6D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1D0B51E-38A4-D932-E762-8947D2B2353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1C454F-9B5D-4FFF-81E9-869861B8288C}" type="datetimeFigureOut">
              <a:rPr lang="fr-CH" smtClean="0"/>
              <a:t>31.07.2025</a:t>
            </a:fld>
            <a:endParaRPr lang="fr-CH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96A143C-5BE9-F477-4D6F-C6BC952332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FC42368-9CB9-74B6-BD82-8F1601BF8A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70DCE2-C1AA-4E94-89A1-B2D7931621E7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82748896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789"/>
          </a:xfrm>
          <a:prstGeom prst="rect">
            <a:avLst/>
          </a:prstGeom>
        </p:spPr>
        <p:txBody>
          <a:bodyPr vert="horz" wrap="square" lIns="90754" tIns="45377" rIns="90754" bIns="45377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4626" y="0"/>
            <a:ext cx="2919565" cy="493789"/>
          </a:xfrm>
          <a:prstGeom prst="rect">
            <a:avLst/>
          </a:prstGeom>
        </p:spPr>
        <p:txBody>
          <a:bodyPr vert="horz" wrap="square" lIns="90754" tIns="45377" rIns="90754" bIns="4537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A6511A3A-45BB-4A6D-8FA9-29BF61972C03}" type="datetime1">
              <a:rPr lang="fr-CH"/>
              <a:pPr>
                <a:defRPr/>
              </a:pPr>
              <a:t>31.07.2025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2918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0754" tIns="45377" rIns="90754" bIns="45377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262" y="4685474"/>
            <a:ext cx="5389240" cy="4440946"/>
          </a:xfrm>
          <a:prstGeom prst="rect">
            <a:avLst/>
          </a:prstGeom>
        </p:spPr>
        <p:txBody>
          <a:bodyPr vert="horz" wrap="square" lIns="90754" tIns="45377" rIns="90754" bIns="45377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0947"/>
            <a:ext cx="2919565" cy="493789"/>
          </a:xfrm>
          <a:prstGeom prst="rect">
            <a:avLst/>
          </a:prstGeom>
        </p:spPr>
        <p:txBody>
          <a:bodyPr vert="horz" wrap="square" lIns="90754" tIns="45377" rIns="90754" bIns="45377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4626" y="9370947"/>
            <a:ext cx="2919565" cy="493789"/>
          </a:xfrm>
          <a:prstGeom prst="rect">
            <a:avLst/>
          </a:prstGeom>
        </p:spPr>
        <p:txBody>
          <a:bodyPr vert="horz" wrap="square" lIns="90754" tIns="45377" rIns="90754" bIns="4537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DF7591-1E36-418F-9918-687E64CBCE53}" type="slidenum">
              <a:rPr lang="fr-CH"/>
              <a:pPr>
                <a:defRPr/>
              </a:pPr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7684906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46.xml"/><Relationship Id="rId7" Type="http://schemas.openxmlformats.org/officeDocument/2006/relationships/image" Target="../media/image1.jpe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50.xml"/><Relationship Id="rId7" Type="http://schemas.openxmlformats.org/officeDocument/2006/relationships/image" Target="../media/image1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54.xml"/><Relationship Id="rId7" Type="http://schemas.openxmlformats.org/officeDocument/2006/relationships/image" Target="../media/image1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58.xml"/><Relationship Id="rId7" Type="http://schemas.openxmlformats.org/officeDocument/2006/relationships/image" Target="../media/image1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62.xml"/><Relationship Id="rId7" Type="http://schemas.openxmlformats.org/officeDocument/2006/relationships/image" Target="../media/image1.jpe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66.xml"/><Relationship Id="rId7" Type="http://schemas.openxmlformats.org/officeDocument/2006/relationships/image" Target="../media/image1.jpe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70.xml"/><Relationship Id="rId7" Type="http://schemas.openxmlformats.org/officeDocument/2006/relationships/image" Target="../media/image1.jpe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74.xml"/><Relationship Id="rId7" Type="http://schemas.openxmlformats.org/officeDocument/2006/relationships/image" Target="../media/image1.jpe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image" Target="../media/image1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8.xml"/><Relationship Id="rId7" Type="http://schemas.openxmlformats.org/officeDocument/2006/relationships/oleObject" Target="../embeddings/oleObject5.bin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19.xml"/><Relationship Id="rId9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2.xml"/><Relationship Id="rId7" Type="http://schemas.openxmlformats.org/officeDocument/2006/relationships/oleObject" Target="../embeddings/oleObject6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23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6.xml"/><Relationship Id="rId7" Type="http://schemas.openxmlformats.org/officeDocument/2006/relationships/oleObject" Target="../embeddings/oleObject8.bin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27.xml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0.xml"/><Relationship Id="rId7" Type="http://schemas.openxmlformats.org/officeDocument/2006/relationships/image" Target="../media/image1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34.xml"/><Relationship Id="rId7" Type="http://schemas.openxmlformats.org/officeDocument/2006/relationships/image" Target="../media/image1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8.xml"/><Relationship Id="rId7" Type="http://schemas.openxmlformats.org/officeDocument/2006/relationships/image" Target="../media/image1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42.xml"/><Relationship Id="rId7" Type="http://schemas.openxmlformats.org/officeDocument/2006/relationships/image" Target="../media/image1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1423467"/>
          </a:xfrm>
        </p:spPr>
        <p:txBody>
          <a:bodyPr/>
          <a:lstStyle>
            <a:lvl1pPr>
              <a:lnSpc>
                <a:spcPts val="3700"/>
              </a:lnSpc>
              <a:defRPr sz="3200" baseline="0" smtClean="0">
                <a:solidFill>
                  <a:srgbClr val="97233F"/>
                </a:solidFill>
                <a:latin typeface="Arial" charset="0"/>
              </a:defRPr>
            </a:lvl1pPr>
          </a:lstStyle>
          <a:p>
            <a:r>
              <a:rPr lang="fr-FR" dirty="0"/>
              <a:t>Cliquez pour modifier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  <a:endParaRPr lang="fr-CH" dirty="0"/>
          </a:p>
        </p:txBody>
      </p:sp>
      <p:sp>
        <p:nvSpPr>
          <p:cNvPr id="8" name="TextBox 10"/>
          <p:cNvSpPr txBox="1"/>
          <p:nvPr userDrawn="1">
            <p:custDataLst>
              <p:tags r:id="rId3"/>
            </p:custDataLst>
          </p:nvPr>
        </p:nvSpPr>
        <p:spPr>
          <a:xfrm>
            <a:off x="467544" y="6315075"/>
            <a:ext cx="4800600" cy="5001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0" i="0" baseline="0" dirty="0">
                <a:latin typeface="Arial" charset="0"/>
                <a:ea typeface="ＭＳ Ｐゴシック" pitchFamily="-112" charset="-128"/>
                <a:cs typeface="+mn-cs"/>
              </a:rPr>
              <a:t>Direction des institutions, de l’agriculture et des forêts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DIA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ktio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Institutione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Land-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Forstwirtschaft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ILFD</a:t>
            </a:r>
            <a:endParaRPr lang="fr-CH" sz="1000" b="1" i="0" baseline="0" dirty="0">
              <a:latin typeface="Arial" charset="0"/>
              <a:ea typeface="ＭＳ Ｐゴシック" pitchFamily="-112" charset="-128"/>
            </a:endParaRP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 userDrawn="1"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age 2">
            <a:extLst>
              <a:ext uri="{FF2B5EF4-FFF2-40B4-BE49-F238E27FC236}">
                <a16:creationId xmlns:a16="http://schemas.microsoft.com/office/drawing/2014/main" id="{ED575FC8-5700-47E6-8295-62D92AEB64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36040"/>
          <a:stretch/>
        </p:blipFill>
        <p:spPr>
          <a:xfrm>
            <a:off x="8315647" y="191657"/>
            <a:ext cx="360040" cy="94700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44F25A0F-1388-460A-9A0D-8296EB5D872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714DA95-C817-416E-A791-F1C83C984B9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</a:t>
            </a:r>
            <a:r>
              <a:rPr lang="fr-CH" sz="1000" b="1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D92E201-92F4-40C6-8BAA-522238B1C58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5514AD3-D2C3-415D-9B63-5E7A1D41DA13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2E1C1C52-2604-47A0-B059-D162DF5453D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3DD14E6-94C0-4B4C-89C8-E51AD31C411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E94C723C-A459-401E-AFAE-5995D918A8C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</a:t>
            </a:r>
            <a:r>
              <a:rPr lang="fr-CH" sz="1000" b="1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AA46F7F-7B08-4ED6-B19A-6150C38792D8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A34AD24-A461-43E9-B91B-CE8B7053BCDB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868090" cy="333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Consultative de la pêche dans le lac de Morat</a:t>
            </a: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, 22</a:t>
            </a:r>
            <a:r>
              <a:rPr lang="fr-CH" sz="1000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mai 2024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40112" y="6424381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A27C3C7-4318-46C8-BEFA-B7910D191C78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pic>
        <p:nvPicPr>
          <p:cNvPr id="7" name="Picture 8" descr="logo_etat_FR_vers_compacte.jpg">
            <a:extLst>
              <a:ext uri="{FF2B5EF4-FFF2-40B4-BE49-F238E27FC236}">
                <a16:creationId xmlns:a16="http://schemas.microsoft.com/office/drawing/2014/main" id="{5896A6D6-A0F3-B2BA-4CC9-090B23C7167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7193" y="635835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Image 6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C5502BDC-6B1D-2008-1C91-99B514784E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269" y="6278096"/>
            <a:ext cx="302493" cy="508076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4" descr="Une image contenant capture d’écran, Graphique, Police, graphisme&#10;&#10;Description générée automatiquement">
            <a:extLst>
              <a:ext uri="{FF2B5EF4-FFF2-40B4-BE49-F238E27FC236}">
                <a16:creationId xmlns:a16="http://schemas.microsoft.com/office/drawing/2014/main" id="{F4A6D007-DD39-D1EB-8E93-F454D718EF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546" y="6315942"/>
            <a:ext cx="944766" cy="30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0">
            <a:extLst>
              <a:ext uri="{FF2B5EF4-FFF2-40B4-BE49-F238E27FC236}">
                <a16:creationId xmlns:a16="http://schemas.microsoft.com/office/drawing/2014/main" id="{68CCE4B5-DDE7-EE65-BDC4-33CF978045C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840348" y="6367974"/>
            <a:ext cx="4800600" cy="3209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0" i="0" baseline="0" dirty="0">
                <a:latin typeface="Arial" charset="0"/>
                <a:ea typeface="ＭＳ Ｐゴシック" pitchFamily="-112" charset="-128"/>
                <a:cs typeface="+mn-cs"/>
              </a:rPr>
              <a:t>Direction des institutions, de l’agriculture et des forêts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DIA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ktio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Institutione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Land-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Forstwirtschaft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ILFD</a:t>
            </a:r>
            <a:endParaRPr lang="fr-CH" sz="1000" b="1" i="0" baseline="0" dirty="0">
              <a:latin typeface="Arial" charset="0"/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3"/>
          <p:cNvCxnSpPr/>
          <p:nvPr>
            <p:custDataLst>
              <p:tags r:id="rId1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811A2E5B-A62B-7882-FA81-9BD2D8CEFE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40112" y="6424381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A27C3C7-4318-46C8-BEFA-B7910D191C78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3" name="Picture 8" descr="logo_etat_FR_vers_compacte.jpg">
            <a:extLst>
              <a:ext uri="{FF2B5EF4-FFF2-40B4-BE49-F238E27FC236}">
                <a16:creationId xmlns:a16="http://schemas.microsoft.com/office/drawing/2014/main" id="{F296A34E-134B-238A-E190-D94ED7B05EB0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7193" y="635835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 6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C58B8D55-ACF7-BE14-BC50-E722CAF60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269" y="6278096"/>
            <a:ext cx="302493" cy="508076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4" descr="Une image contenant capture d’écran, Graphique, Police, graphisme&#10;&#10;Description générée automatiquement">
            <a:extLst>
              <a:ext uri="{FF2B5EF4-FFF2-40B4-BE49-F238E27FC236}">
                <a16:creationId xmlns:a16="http://schemas.microsoft.com/office/drawing/2014/main" id="{401760C3-A329-04B4-82DA-2FF93E50BA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546" y="6315942"/>
            <a:ext cx="944766" cy="30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B96675AA-B044-A770-5691-1B0FEE2EAEC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840348" y="6367974"/>
            <a:ext cx="4800600" cy="3209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0" i="0" baseline="0" dirty="0">
                <a:latin typeface="Arial" charset="0"/>
                <a:ea typeface="ＭＳ Ｐゴシック" pitchFamily="-112" charset="-128"/>
                <a:cs typeface="+mn-cs"/>
              </a:rPr>
              <a:t>Direction des institutions, de l’agriculture et des forêts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DIA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ktio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Institutione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Land-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Forstwirtschaft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ILFD</a:t>
            </a:r>
            <a:endParaRPr lang="fr-CH" sz="1000" b="1" i="0" baseline="0" dirty="0">
              <a:latin typeface="Arial" charset="0"/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3"/>
          <p:cNvCxnSpPr/>
          <p:nvPr>
            <p:custDataLst>
              <p:tags r:id="rId1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0BF2E95E-E7BA-F899-C380-E06BA2C61B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40112" y="6424381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A27C3C7-4318-46C8-BEFA-B7910D191C78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3" name="Picture 8" descr="logo_etat_FR_vers_compacte.jpg">
            <a:extLst>
              <a:ext uri="{FF2B5EF4-FFF2-40B4-BE49-F238E27FC236}">
                <a16:creationId xmlns:a16="http://schemas.microsoft.com/office/drawing/2014/main" id="{05037B94-A0EE-A23D-F5D7-F6D13079E6AA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7193" y="635835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 6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1E43E3EE-38EA-1CA4-BCF6-47FD218A38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269" y="6278096"/>
            <a:ext cx="302493" cy="508076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4" descr="Une image contenant capture d’écran, Graphique, Police, graphisme&#10;&#10;Description générée automatiquement">
            <a:extLst>
              <a:ext uri="{FF2B5EF4-FFF2-40B4-BE49-F238E27FC236}">
                <a16:creationId xmlns:a16="http://schemas.microsoft.com/office/drawing/2014/main" id="{C8A9FA4A-EEC7-EB17-A7F9-E7B88CCB5D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546" y="6315942"/>
            <a:ext cx="944766" cy="30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C94B5854-F78B-AD98-E6FB-D8D7D181DB7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840348" y="6367974"/>
            <a:ext cx="4800600" cy="3209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0" i="0" baseline="0" dirty="0">
                <a:latin typeface="Arial" charset="0"/>
                <a:ea typeface="ＭＳ Ｐゴシック" pitchFamily="-112" charset="-128"/>
                <a:cs typeface="+mn-cs"/>
              </a:rPr>
              <a:t>Direction des institutions, de l’agriculture et des forêts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DIA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ktio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Institutione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Land-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Forstwirtschaft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ILFD</a:t>
            </a:r>
            <a:endParaRPr lang="fr-CH" sz="1000" b="1" i="0" baseline="0" dirty="0">
              <a:latin typeface="Arial" charset="0"/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680AF8A-6CA8-40B7-84EF-AB74F0AE44C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AG délégués FFSP</a:t>
            </a: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, 7</a:t>
            </a:r>
            <a:r>
              <a:rPr lang="fr-CH" sz="1000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mai 2022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EAF35FD-1E17-47B5-8DF7-DBAD8A69284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</a:t>
            </a:r>
            <a:r>
              <a:rPr lang="fr-CH" sz="1000" b="1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nature</a:t>
            </a: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8F35019-8CAC-4928-991A-BE0DCAA8047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D51F0A7-E7BF-49EE-AED1-79868862FCF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Avant-projet de loi sur l’eau potab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94185B2-6BAE-470F-A4F3-65DE3A98395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faun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  <p:sldLayoutId id="2147484185" r:id="rId10"/>
    <p:sldLayoutId id="2147484175" r:id="rId11"/>
    <p:sldLayoutId id="2147484186" r:id="rId12"/>
    <p:sldLayoutId id="2147484187" r:id="rId13"/>
    <p:sldLayoutId id="2147484188" r:id="rId14"/>
    <p:sldLayoutId id="2147484189" r:id="rId15"/>
    <p:sldLayoutId id="2147484190" r:id="rId16"/>
    <p:sldLayoutId id="2147484191" r:id="rId17"/>
    <p:sldLayoutId id="2147484192" r:id="rId18"/>
  </p:sldLayoutIdLst>
  <p:hf sldNum="0" hdr="0" ftr="0" dt="0"/>
  <p:txStyles>
    <p:titleStyle>
      <a:lvl1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rgbClr val="97233F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0" fontAlgn="base" hangingPunct="0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0" fontAlgn="base" hangingPunct="0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0" fontAlgn="base" hangingPunct="0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0" fontAlgn="base" hangingPunct="0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730AA5-E897-4EF6-B85E-95658D161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40" y="3936866"/>
            <a:ext cx="8242300" cy="984885"/>
          </a:xfrm>
        </p:spPr>
        <p:txBody>
          <a:bodyPr/>
          <a:lstStyle/>
          <a:p>
            <a:pPr algn="r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</a:pPr>
            <a:r>
              <a:rPr lang="fr-CH" dirty="0">
                <a:latin typeface="Aptos" panose="020B0004020202020204" pitchFamily="34" charset="0"/>
                <a:cs typeface="Aptos Serif" panose="020B0502040204020203" pitchFamily="18" charset="0"/>
              </a:rPr>
              <a:t>STATISTIQUES DE PÊCHE CONCERNANT LE LAC DE NEUCHÂTEL</a:t>
            </a:r>
          </a:p>
        </p:txBody>
      </p:sp>
      <p:pic>
        <p:nvPicPr>
          <p:cNvPr id="8" name="Image 7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A2AE3FD4-8C66-CFDB-C6E5-338F21265D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548680"/>
            <a:ext cx="1440160" cy="1113027"/>
          </a:xfrm>
          <a:prstGeom prst="rect">
            <a:avLst/>
          </a:prstGeom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6F416810-0F85-E9BB-AE68-B3454DD2A81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11560" y="1857598"/>
            <a:ext cx="842493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200" b="0" i="0" baseline="0" dirty="0">
                <a:latin typeface="Arial" charset="0"/>
                <a:ea typeface="ＭＳ Ｐゴシック" pitchFamily="-112" charset="-128"/>
                <a:cs typeface="+mn-cs"/>
              </a:rPr>
              <a:t>Direction des institutions, de l’agriculture et des forêts </a:t>
            </a:r>
            <a:r>
              <a:rPr lang="fr-CH" sz="1200" b="1" i="0" baseline="0" dirty="0">
                <a:latin typeface="Arial" charset="0"/>
                <a:ea typeface="ＭＳ Ｐゴシック" pitchFamily="-112" charset="-128"/>
                <a:cs typeface="+mn-cs"/>
              </a:rPr>
              <a:t>DIAF</a:t>
            </a:r>
          </a:p>
          <a:p>
            <a:pPr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200" dirty="0">
                <a:latin typeface="Arial" charset="0"/>
                <a:ea typeface="ＭＳ Ｐゴシック" pitchFamily="-112" charset="-128"/>
                <a:cs typeface="+mn-cs"/>
              </a:rPr>
              <a:t>Direktion</a:t>
            </a:r>
            <a:r>
              <a:rPr lang="fr-CH" sz="1200" baseline="0" dirty="0">
                <a:latin typeface="Arial" charset="0"/>
                <a:ea typeface="ＭＳ Ｐゴシック" pitchFamily="-112" charset="-128"/>
                <a:cs typeface="+mn-cs"/>
              </a:rPr>
              <a:t> der </a:t>
            </a:r>
            <a:r>
              <a:rPr lang="fr-CH" sz="1200" baseline="0" dirty="0" err="1">
                <a:latin typeface="Arial" charset="0"/>
                <a:ea typeface="ＭＳ Ｐゴシック" pitchFamily="-112" charset="-128"/>
                <a:cs typeface="+mn-cs"/>
              </a:rPr>
              <a:t>Institutionen</a:t>
            </a:r>
            <a:r>
              <a:rPr lang="fr-CH" sz="12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2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200" baseline="0" dirty="0">
                <a:latin typeface="Arial" charset="0"/>
                <a:ea typeface="ＭＳ Ｐゴシック" pitchFamily="-112" charset="-128"/>
                <a:cs typeface="+mn-cs"/>
              </a:rPr>
              <a:t> der Land- </a:t>
            </a:r>
            <a:r>
              <a:rPr lang="fr-CH" sz="12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2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200" baseline="0" dirty="0" err="1">
                <a:latin typeface="Arial" charset="0"/>
                <a:ea typeface="ＭＳ Ｐゴシック" pitchFamily="-112" charset="-128"/>
                <a:cs typeface="+mn-cs"/>
              </a:rPr>
              <a:t>Forstwirtschaft</a:t>
            </a:r>
            <a:r>
              <a:rPr lang="fr-CH" sz="1200" baseline="0" dirty="0">
                <a:latin typeface="Arial" charset="0"/>
                <a:ea typeface="ＭＳ Ｐゴシック" pitchFamily="-112" charset="-128"/>
                <a:cs typeface="+mn-cs"/>
              </a:rPr>
              <a:t>  </a:t>
            </a:r>
            <a:r>
              <a:rPr lang="fr-CH" sz="1200" b="1" i="0" baseline="0" dirty="0">
                <a:latin typeface="Arial" charset="0"/>
                <a:ea typeface="ＭＳ Ｐゴシック" pitchFamily="-112" charset="-128"/>
                <a:cs typeface="+mn-cs"/>
              </a:rPr>
              <a:t>ILFD</a:t>
            </a:r>
          </a:p>
          <a:p>
            <a:pPr>
              <a:spcAft>
                <a:spcPts val="0"/>
              </a:spcAft>
              <a:buClr>
                <a:srgbClr val="074EA1"/>
              </a:buClr>
              <a:defRPr/>
            </a:pPr>
            <a:endParaRPr lang="fr-CH" sz="1200" dirty="0">
              <a:latin typeface="Arial" charset="0"/>
              <a:ea typeface="ＭＳ Ｐゴシック" pitchFamily="-112" charset="-128"/>
            </a:endParaRPr>
          </a:p>
          <a:p>
            <a:pPr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200" dirty="0">
                <a:latin typeface="Arial" charset="0"/>
                <a:ea typeface="ＭＳ Ｐゴシック" pitchFamily="-112" charset="-128"/>
              </a:rPr>
              <a:t>Service des forêts et de la nature </a:t>
            </a:r>
            <a:r>
              <a:rPr lang="fr-CH" sz="1200" b="1" dirty="0">
                <a:latin typeface="Arial" charset="0"/>
                <a:ea typeface="ＭＳ Ｐゴシック" pitchFamily="-112" charset="-128"/>
              </a:rPr>
              <a:t>SFN</a:t>
            </a:r>
          </a:p>
          <a:p>
            <a:pPr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200" i="0" baseline="0" dirty="0" err="1">
                <a:latin typeface="Arial" charset="0"/>
                <a:ea typeface="ＭＳ Ｐゴシック" pitchFamily="-112" charset="-128"/>
              </a:rPr>
              <a:t>Amt</a:t>
            </a:r>
            <a:r>
              <a:rPr lang="fr-CH" sz="1200" i="0" baseline="0" dirty="0">
                <a:latin typeface="Arial" charset="0"/>
                <a:ea typeface="ＭＳ Ｐゴシック" pitchFamily="-112" charset="-128"/>
              </a:rPr>
              <a:t> </a:t>
            </a:r>
            <a:r>
              <a:rPr lang="fr-CH" sz="1200" i="0" baseline="0" dirty="0" err="1">
                <a:latin typeface="Arial" charset="0"/>
                <a:ea typeface="ＭＳ Ｐゴシック" pitchFamily="-112" charset="-128"/>
              </a:rPr>
              <a:t>für</a:t>
            </a:r>
            <a:r>
              <a:rPr lang="fr-CH" sz="1200" i="0" baseline="0" dirty="0">
                <a:latin typeface="Arial" charset="0"/>
                <a:ea typeface="ＭＳ Ｐゴシック" pitchFamily="-112" charset="-128"/>
              </a:rPr>
              <a:t> Wald </a:t>
            </a:r>
            <a:r>
              <a:rPr lang="fr-CH" sz="1200" i="0" baseline="0" dirty="0" err="1">
                <a:latin typeface="Arial" charset="0"/>
                <a:ea typeface="ＭＳ Ｐゴシック" pitchFamily="-112" charset="-128"/>
              </a:rPr>
              <a:t>und</a:t>
            </a:r>
            <a:r>
              <a:rPr lang="fr-CH" sz="1200" i="0" baseline="0" dirty="0">
                <a:latin typeface="Arial" charset="0"/>
                <a:ea typeface="ＭＳ Ｐゴシック" pitchFamily="-112" charset="-128"/>
              </a:rPr>
              <a:t> </a:t>
            </a:r>
            <a:r>
              <a:rPr lang="fr-CH" sz="1200" i="0" baseline="0" dirty="0" err="1">
                <a:latin typeface="Arial" charset="0"/>
                <a:ea typeface="ＭＳ Ｐゴシック" pitchFamily="-112" charset="-128"/>
              </a:rPr>
              <a:t>Natur</a:t>
            </a:r>
            <a:r>
              <a:rPr lang="fr-CH" sz="1200" i="0" baseline="0" dirty="0">
                <a:latin typeface="Arial" charset="0"/>
                <a:ea typeface="ＭＳ Ｐゴシック" pitchFamily="-112" charset="-128"/>
              </a:rPr>
              <a:t> </a:t>
            </a:r>
            <a:r>
              <a:rPr lang="fr-CH" sz="1200" b="1" i="0" baseline="0" dirty="0">
                <a:latin typeface="Arial" charset="0"/>
                <a:ea typeface="ＭＳ Ｐゴシック" pitchFamily="-112" charset="-128"/>
              </a:rPr>
              <a:t>WNA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79641FD4-2008-7664-5F7F-D075FE38E935}"/>
              </a:ext>
            </a:extLst>
          </p:cNvPr>
          <p:cNvSpPr txBox="1">
            <a:spLocks/>
          </p:cNvSpPr>
          <p:nvPr/>
        </p:nvSpPr>
        <p:spPr bwMode="auto">
          <a:xfrm>
            <a:off x="431940" y="5016986"/>
            <a:ext cx="82423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97233F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 algn="r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</a:pPr>
            <a:r>
              <a:rPr lang="fr-CH" dirty="0">
                <a:latin typeface="Aptos" panose="020B0004020202020204" pitchFamily="34" charset="0"/>
                <a:cs typeface="Aptos Serif" panose="020B0502040204020203" pitchFamily="18" charset="0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333794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A504D-8DB0-3067-880A-EE2584CF52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B3D535-9F3F-1439-B9A1-73D77182F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3D8209E-0095-A264-97E0-0CBBA2DE5B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totales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8597780F-56F6-29AF-AFBB-1DE7EAD619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1523250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59301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B7B2F-E32D-226F-AE0F-3AC9331A1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30258EE-516B-B202-1DC9-CB04E9A53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919ACCF-863A-183A-8702-109A029A6E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tota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169FB8D1-1580-0084-1D37-943558DB54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0954783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422458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B847D-4E9D-9F5C-52AF-7F179EF0B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5091DB1-063C-7446-C718-2C59D004A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910DD9-E810-F5B1-C3F4-C182667629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bondel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464E7599-8108-2206-4DD5-E2C9071559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2709636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C8A974-89B9-60AD-E8F9-1304C5BAC0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761654"/>
            <a:ext cx="3059832" cy="1032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95959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2CF50D-FD09-2E87-467A-B6094BF16E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0A5196-1165-7DA6-304D-359D3CAB9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BF5B006-9156-A5F6-8640-289D8C269C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palé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7AE9AD4F-6302-3C78-DF81-0DEA76749A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4052227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EFCEF1A-C3A1-5599-7B72-2A7E5524E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761654"/>
            <a:ext cx="3059832" cy="1032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75143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99B74-4228-3A5E-E165-41D2DA5D4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00B0381-94D4-9BF7-341B-CF3E60F75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2522CB6-1706-2F85-6F1B-86A538873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corégon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EAE63791-6755-5FD6-D2D8-9D64DBCFBA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109876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F0E5D05E-198A-FF20-B0DC-940D2D4CE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761654"/>
            <a:ext cx="3059832" cy="1032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1348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7D343-20D3-2796-45A5-78C569E42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1670A0-4E42-2AF0-22FD-674CEC764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D27D6E5-462F-6E50-C9BB-4B4A76225E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corégon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B26EADD6-BFEB-F0DC-7FAE-CDEBE6EEE6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518651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2CAC5D4E-021D-327C-E06E-C7D6B26F20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761654"/>
            <a:ext cx="3059832" cy="1032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07868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8B2C0-3375-35DD-ECD1-891179CE4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797132-1F64-A6A9-6600-3ADE603F5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819" y="304800"/>
            <a:ext cx="8242300" cy="474489"/>
          </a:xfrm>
        </p:spPr>
        <p:txBody>
          <a:bodyPr/>
          <a:lstStyle/>
          <a:p>
            <a:r>
              <a:rPr lang="fr-CH" dirty="0"/>
              <a:t>Effort de pêch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5038CCB-307E-98A0-8FC0-5CE6E97F31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2819" y="920890"/>
            <a:ext cx="8242300" cy="369332"/>
          </a:xfrm>
        </p:spPr>
        <p:txBody>
          <a:bodyPr/>
          <a:lstStyle/>
          <a:p>
            <a:r>
              <a:rPr lang="fr-CH" dirty="0"/>
              <a:t>Filets / pêcheur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824699D6-4DAD-0C53-AF8F-6F6287F1D137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67390956"/>
              </p:ext>
            </p:extLst>
          </p:nvPr>
        </p:nvGraphicFramePr>
        <p:xfrm>
          <a:off x="153946" y="1544594"/>
          <a:ext cx="4085351" cy="4647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re 1">
            <a:extLst>
              <a:ext uri="{FF2B5EF4-FFF2-40B4-BE49-F238E27FC236}">
                <a16:creationId xmlns:a16="http://schemas.microsoft.com/office/drawing/2014/main" id="{84183B41-F684-2AB5-8D7D-EC44ADB7CB50}"/>
              </a:ext>
            </a:extLst>
          </p:cNvPr>
          <p:cNvSpPr txBox="1">
            <a:spLocks/>
          </p:cNvSpPr>
          <p:nvPr/>
        </p:nvSpPr>
        <p:spPr bwMode="auto">
          <a:xfrm>
            <a:off x="4572000" y="292729"/>
            <a:ext cx="4464496" cy="474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97233F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0" fontAlgn="base" hangingPunct="0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7233F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Prise par unité d’effort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5700E367-30AB-E82E-A380-77EC0A5C4C42}"/>
              </a:ext>
            </a:extLst>
          </p:cNvPr>
          <p:cNvSpPr txBox="1">
            <a:spLocks/>
          </p:cNvSpPr>
          <p:nvPr/>
        </p:nvSpPr>
        <p:spPr bwMode="auto">
          <a:xfrm>
            <a:off x="4572000" y="908819"/>
            <a:ext cx="408535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2pPr>
            <a:lvl3pPr marL="539750" indent="-265113" algn="l" defTabSz="457200" rtl="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3pPr>
            <a:lvl4pPr marL="803275" indent="-261938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4pPr>
            <a:lvl5pPr marL="1076325" indent="-271463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Kg / filet</a:t>
            </a:r>
          </a:p>
        </p:txBody>
      </p:sp>
      <p:graphicFrame>
        <p:nvGraphicFramePr>
          <p:cNvPr id="7" name="Espace réservé du contenu 5">
            <a:extLst>
              <a:ext uri="{FF2B5EF4-FFF2-40B4-BE49-F238E27FC236}">
                <a16:creationId xmlns:a16="http://schemas.microsoft.com/office/drawing/2014/main" id="{73C7C138-F49C-789A-A316-F008CB3A83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2148705"/>
              </p:ext>
            </p:extLst>
          </p:nvPr>
        </p:nvGraphicFramePr>
        <p:xfrm>
          <a:off x="4572000" y="1517031"/>
          <a:ext cx="4085351" cy="4675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4554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Graphic spid="7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0A5F3F-819B-27F6-2551-D1ED341AB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8BF81C-E0F7-97C5-5244-E0211CD4E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62DDC66-0967-DDA4-E43B-51CABE76E5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truit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1BEA6D7E-A079-40D1-999C-78E86185FC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7199905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DFBD723B-FCAE-71EC-D606-532919139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730219"/>
            <a:ext cx="3146237" cy="1083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3805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08C9C-5283-36CF-0223-D695159496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6AE1A5C-56D5-21DF-CB94-3B404F224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7BAE4BF-0307-7291-6D89-3807699217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omb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42815782-B9BA-EA3E-54F3-5B66BABB1E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7052707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 5" descr="Une image contenant poisson, Aileron, Produits de la mer, Biologie marine&#10;&#10;Le contenu généré par l’IA peut être incorrect.">
            <a:extLst>
              <a:ext uri="{FF2B5EF4-FFF2-40B4-BE49-F238E27FC236}">
                <a16:creationId xmlns:a16="http://schemas.microsoft.com/office/drawing/2014/main" id="{EAEAC9B0-536F-24EF-9EC9-F1372D6EB5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8184" y="823670"/>
            <a:ext cx="2771347" cy="886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853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99137A-4E97-7191-9E6A-3BFA8DC3E9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F2A543-F4DB-E39D-64E2-A1097EC6C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1DAEC62-B6BE-EB1E-1BB9-0631A92C6C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brochet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03956CFB-43A3-8E47-6C0A-1800A8546E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6556623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4">
            <a:extLst>
              <a:ext uri="{FF2B5EF4-FFF2-40B4-BE49-F238E27FC236}">
                <a16:creationId xmlns:a16="http://schemas.microsoft.com/office/drawing/2014/main" id="{93C8B8F8-B00A-3241-4D84-B2C6910FD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117" y="768024"/>
            <a:ext cx="3613666" cy="104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9833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6423E8-E674-4219-927F-FF3585A8E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/>
              <a:t>Vente de permis 2024</a:t>
            </a:r>
          </a:p>
        </p:txBody>
      </p:sp>
      <p:graphicFrame>
        <p:nvGraphicFramePr>
          <p:cNvPr id="7" name="Espace réservé du contenu 3">
            <a:extLst>
              <a:ext uri="{FF2B5EF4-FFF2-40B4-BE49-F238E27FC236}">
                <a16:creationId xmlns:a16="http://schemas.microsoft.com/office/drawing/2014/main" id="{BD909973-68E1-08E8-1DFA-BEB283CADE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1652399"/>
              </p:ext>
            </p:extLst>
          </p:nvPr>
        </p:nvGraphicFramePr>
        <p:xfrm>
          <a:off x="539552" y="1585600"/>
          <a:ext cx="8280919" cy="36868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4635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4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4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43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43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Type de permis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FRIBOURG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VAUD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NEUCHÂTEL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Pêche professionnelle A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Pêche professionnelle B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Loisir avec traîne C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47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06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5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Loisir sans traîne D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34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66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94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89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Additionnel hôte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44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76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35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7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Journaliers C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167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62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86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3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Journaliers D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672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55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95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14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9303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72A0D-9543-D3FA-2423-59DB8886E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5C37B2-FD3C-EFF2-599E-E7DB2A29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D09F36E-B47E-ACC4-2961-C40FFDBCDF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perch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120C602E-9E65-5D73-095C-A4F36A65AB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7989067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Image 2" descr="Une image contenant poisson, poisson à nageoires piquantes, orange&#10;&#10;Description générée automatiquement">
            <a:extLst>
              <a:ext uri="{FF2B5EF4-FFF2-40B4-BE49-F238E27FC236}">
                <a16:creationId xmlns:a16="http://schemas.microsoft.com/office/drawing/2014/main" id="{6005C67E-7600-2C47-6B71-6B71C3A76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208" y="775554"/>
            <a:ext cx="2483768" cy="125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4468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7F3EF-69FB-D099-A875-C5C94242E3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9009AE1-1C47-CE13-1407-BD02FC04D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0B31E45-6546-5974-8EFA-96541DCA9D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vengeron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79C0BB79-86FA-3ED3-7BEA-FDB0B3BA82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7014032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C8C2FD2A-423A-29CF-C0FD-6649E69C3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563" y="650252"/>
            <a:ext cx="2560621" cy="119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1267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28EEA-BB4B-09AB-0E98-62CA48DBFD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73E50B-B945-3DFF-0FE4-4D028D23C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F33E6E4-DF73-CDCA-A005-B6480787A6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silur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353AC7E5-E644-2DCE-46E7-011A3C3E45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2346685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019BC823-8D02-DC80-C43F-3E83398A4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689" y="839218"/>
            <a:ext cx="3491880" cy="93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73881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B71C67-F87F-72DF-388F-1365044C9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E6CD9F-0B5E-F6EC-CC0B-C27D975FB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DF4BBC8-F507-F130-F7AA-BFF77153AF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anguil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50100FC2-848C-BFBE-451C-8B130AA0D9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9262806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Image 2" descr="Une image contenant invertébré, Organisme, Invertébrés marins, poisson&#10;&#10;Le contenu généré par l’IA peut être incorrect.">
            <a:extLst>
              <a:ext uri="{FF2B5EF4-FFF2-40B4-BE49-F238E27FC236}">
                <a16:creationId xmlns:a16="http://schemas.microsoft.com/office/drawing/2014/main" id="{23FC3E9D-C5A5-E2E6-9E9B-7369E4F8CE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1027249"/>
            <a:ext cx="2987824" cy="601101"/>
          </a:xfrm>
          <a:prstGeom prst="rect">
            <a:avLst/>
          </a:prstGeom>
        </p:spPr>
      </p:pic>
      <p:grpSp>
        <p:nvGrpSpPr>
          <p:cNvPr id="7" name="Groupe 6">
            <a:extLst>
              <a:ext uri="{FF2B5EF4-FFF2-40B4-BE49-F238E27FC236}">
                <a16:creationId xmlns:a16="http://schemas.microsoft.com/office/drawing/2014/main" id="{9117E66F-5F70-906E-4EBD-38B9660FF45C}"/>
              </a:ext>
            </a:extLst>
          </p:cNvPr>
          <p:cNvGrpSpPr/>
          <p:nvPr/>
        </p:nvGrpSpPr>
        <p:grpSpPr>
          <a:xfrm>
            <a:off x="8226302" y="2320299"/>
            <a:ext cx="288032" cy="3340949"/>
            <a:chOff x="7362056" y="2320299"/>
            <a:chExt cx="288032" cy="3340949"/>
          </a:xfrm>
        </p:grpSpPr>
        <p:sp>
          <p:nvSpPr>
            <p:cNvPr id="8" name="Flèche : bas 7">
              <a:extLst>
                <a:ext uri="{FF2B5EF4-FFF2-40B4-BE49-F238E27FC236}">
                  <a16:creationId xmlns:a16="http://schemas.microsoft.com/office/drawing/2014/main" id="{ABED7513-6891-7D1B-8F98-3BC4E7CF5BFC}"/>
                </a:ext>
              </a:extLst>
            </p:cNvPr>
            <p:cNvSpPr/>
            <p:nvPr/>
          </p:nvSpPr>
          <p:spPr>
            <a:xfrm>
              <a:off x="7362056" y="4653136"/>
              <a:ext cx="288032" cy="1008112"/>
            </a:xfrm>
            <a:prstGeom prst="downArrow">
              <a:avLst/>
            </a:prstGeom>
            <a:solidFill>
              <a:srgbClr val="97233F"/>
            </a:solidFill>
            <a:ln w="12700">
              <a:solidFill>
                <a:srgbClr val="FFFF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F91B2487-3987-C287-EBE4-2D6B2E3755C1}"/>
                </a:ext>
              </a:extLst>
            </p:cNvPr>
            <p:cNvSpPr txBox="1"/>
            <p:nvPr/>
          </p:nvSpPr>
          <p:spPr>
            <a:xfrm rot="16200000">
              <a:off x="6367760" y="3314595"/>
              <a:ext cx="2232248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600" b="1" dirty="0"/>
                <a:t>Interdiction CH - 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74423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77F4C0-B1C9-F842-AD3B-8AA60FEDC0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81461D-C7F9-60B0-6A18-66C85B9B2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tota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6BFC1BF-E136-A18B-62F9-2A4A31B8CD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sandr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DEE235AC-9CB2-0781-2ABC-8820ACEC38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2027286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027DD63A-3EB9-FC20-DABF-5353D02FF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1683" y="797242"/>
            <a:ext cx="3059832" cy="108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2052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6E1EF0-78E2-3930-C5C3-9D2D7AF3D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7F64B22-EE90-293D-3976-0D1415C13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3100" dirty="0"/>
              <a:t>4. </a:t>
            </a:r>
            <a:r>
              <a:rPr lang="fr-CH" sz="3100" dirty="0">
                <a:latin typeface="+mj-lt"/>
              </a:rPr>
              <a:t>Bilan des pêches de géniteurs 2024-2025</a:t>
            </a:r>
            <a:br>
              <a:rPr lang="fr-CH" sz="3200" dirty="0">
                <a:latin typeface="+mj-lt"/>
              </a:rPr>
            </a:br>
            <a:endParaRPr lang="fr-CH" dirty="0"/>
          </a:p>
        </p:txBody>
      </p:sp>
      <p:graphicFrame>
        <p:nvGraphicFramePr>
          <p:cNvPr id="7" name="Espace réservé du contenu 3">
            <a:extLst>
              <a:ext uri="{FF2B5EF4-FFF2-40B4-BE49-F238E27FC236}">
                <a16:creationId xmlns:a16="http://schemas.microsoft.com/office/drawing/2014/main" id="{9FDF7F03-A5C8-9328-0FB0-47C1387EE9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8452085"/>
              </p:ext>
            </p:extLst>
          </p:nvPr>
        </p:nvGraphicFramePr>
        <p:xfrm>
          <a:off x="179512" y="1052736"/>
          <a:ext cx="8640958" cy="36868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44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70023989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61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fr-CH" sz="18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Espèc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CH" sz="18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Stad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FRIBOURG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VAUD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NEUCHÂTEL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mb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lé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Alev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8’157’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fr-CH" sz="1800" b="1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8’157’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0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ndel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Alev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1’140’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fr-CH" sz="1800" b="1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1’140’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08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och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Œuf embryonné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825’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fr-CH" sz="1800" b="1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825’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0850">
                <a:tc vMerge="1"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fr-CH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Alev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95’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fr-CH" sz="1800" b="1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95’8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08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uite de la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Alevins nourri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35’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186’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221’6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085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fr-CH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Pré-estivau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CH" sz="18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100’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fr-CH" sz="1800" b="1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100’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4" name="Picture 2">
            <a:extLst>
              <a:ext uri="{FF2B5EF4-FFF2-40B4-BE49-F238E27FC236}">
                <a16:creationId xmlns:a16="http://schemas.microsoft.com/office/drawing/2014/main" id="{E5788483-FC01-79BC-4A49-BBDFDADBC4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62" b="39629"/>
          <a:stretch/>
        </p:blipFill>
        <p:spPr bwMode="auto">
          <a:xfrm>
            <a:off x="458499" y="4902271"/>
            <a:ext cx="8242300" cy="127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82644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54BDDC-7E14-694C-1593-57F301415C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693A6D-96AF-2BC1-EBD0-9EC27B855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50B8F5-C447-F483-6E16-51F0627356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truit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396F2958-2B7C-C8DA-4841-00120BAA02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280659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49BA3FA-16D1-FDBD-F004-956075BA8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730219"/>
            <a:ext cx="3146237" cy="1083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61403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E2182-9CBC-0B46-18CA-EB1D1243E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7FBBE9-3A6E-3950-FBAF-1BA01C81C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2C6E592-D049-FB37-610C-65E5263C12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truit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5F804E07-F47D-5A17-B8B1-B6CE72986E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1094639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18618F75-32DD-6AC5-D682-93DD851C4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730219"/>
            <a:ext cx="3146237" cy="1083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6760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7AD13-1384-D653-A8D2-50C19A2E1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844ABC-4602-4A51-BB3D-B4DB04BCB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07E60B9-58BF-38AB-4E3A-50793A3AE7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omb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038808CE-1DC7-DD58-5676-8B97F4E0F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8925350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 6" descr="Une image contenant poisson, Aileron, Produits de la mer, Biologie marine&#10;&#10;Le contenu généré par l’IA peut être incorrect.">
            <a:extLst>
              <a:ext uri="{FF2B5EF4-FFF2-40B4-BE49-F238E27FC236}">
                <a16:creationId xmlns:a16="http://schemas.microsoft.com/office/drawing/2014/main" id="{C29A87D3-3D75-FCE9-2C0B-5D3F21A660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8184" y="823670"/>
            <a:ext cx="2771347" cy="886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7189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BC72B-9A1F-3970-ECAA-D002DCE7D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464DE1-90E0-4C34-53F7-3966901A5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6557CE8-101A-6DAA-A659-0D8D8AB3C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omb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FCF87746-7E11-8917-FD07-A1E00CC1DE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2682481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 5" descr="Une image contenant poisson, Aileron, Produits de la mer, Biologie marine&#10;&#10;Le contenu généré par l’IA peut être incorrect.">
            <a:extLst>
              <a:ext uri="{FF2B5EF4-FFF2-40B4-BE49-F238E27FC236}">
                <a16:creationId xmlns:a16="http://schemas.microsoft.com/office/drawing/2014/main" id="{8AB573BF-94B3-6DE5-FF58-1F7D9A5CCF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8184" y="823670"/>
            <a:ext cx="2771347" cy="886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1153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44363C-308F-4859-CBE4-4F86BBA51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B4278A1-370D-C098-AD6A-5362260793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/>
              <a:t>Evolution des vent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D49294F-19BE-7A50-404C-593115FCC3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20890"/>
            <a:ext cx="8242300" cy="369332"/>
          </a:xfrm>
        </p:spPr>
        <p:txBody>
          <a:bodyPr/>
          <a:lstStyle/>
          <a:p>
            <a:r>
              <a:rPr lang="fr-CH" dirty="0"/>
              <a:t>Permis pêche de loisir 1980 - 2024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8AFC3678-4ED5-C4D8-084B-67A71468E3CA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31449981"/>
              </p:ext>
            </p:extLst>
          </p:nvPr>
        </p:nvGraphicFramePr>
        <p:xfrm>
          <a:off x="414641" y="1556792"/>
          <a:ext cx="8167562" cy="4647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466829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D00FE-14E0-E38A-5C9E-F1089F286F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0BF821-2194-4980-8FE0-727313620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0575D9-DA72-B0B0-2F13-9BA8A8123E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perch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071D4BFE-4EE7-3E4F-2512-E89C4D6AFD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1170861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Image 2" descr="Une image contenant poisson, poisson à nageoires piquantes, orange&#10;&#10;Description générée automatiquement">
            <a:extLst>
              <a:ext uri="{FF2B5EF4-FFF2-40B4-BE49-F238E27FC236}">
                <a16:creationId xmlns:a16="http://schemas.microsoft.com/office/drawing/2014/main" id="{9F08F20C-4DC4-34AF-0620-CCFDB804E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208" y="775554"/>
            <a:ext cx="2483768" cy="125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2975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1D72B-0967-F80E-8BC6-6DF7A0019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7B6D19-4A5D-F05E-8D8C-1108B662D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D850D2-ADC1-F791-B9BE-10E6593DDD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perch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714FBFC5-89D8-4CC7-87BF-8DD925B701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056688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Image 2" descr="Une image contenant poisson, poisson à nageoires piquantes, orange&#10;&#10;Description générée automatiquement">
            <a:extLst>
              <a:ext uri="{FF2B5EF4-FFF2-40B4-BE49-F238E27FC236}">
                <a16:creationId xmlns:a16="http://schemas.microsoft.com/office/drawing/2014/main" id="{B8D8C86A-69E9-CD02-0182-52FD1D8832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208" y="775554"/>
            <a:ext cx="2483768" cy="125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7052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4AAEE6-0244-8FCB-FA67-86D5F45CA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5780C7A-632E-CBA2-CCED-A75EB2BEE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23D83A9-7751-64C8-2439-99F49C8BA5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sandr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C659EF6D-F04B-4FF2-EFA3-75F21143C7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4311333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CE9592A0-5791-41D5-3EDB-E4211423B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1683" y="797242"/>
            <a:ext cx="3059832" cy="108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96414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B69D51-F0AA-F543-E95D-57308CBDD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F06C8F-1A71-9221-2C1B-FEDF14E47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16F3C7-4A46-1AC6-5C95-216A2FFA83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sandr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E5BDF443-A194-90BE-82F6-610AA234AF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699245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54063FEF-CCE8-BCA4-13F3-6FB97B34C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1683" y="797242"/>
            <a:ext cx="3059832" cy="108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41687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5AE57A-126D-D922-E49A-5146BE921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F45E0933-2697-BB75-440C-BEA00E71C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117" y="768024"/>
            <a:ext cx="3613666" cy="104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B6C801C8-3DDC-CC8D-B918-7C25C225F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EAF695D-C002-7DC1-F1E9-863CE3B5C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391" y="1327800"/>
            <a:ext cx="8242300" cy="369332"/>
          </a:xfrm>
        </p:spPr>
        <p:txBody>
          <a:bodyPr/>
          <a:lstStyle/>
          <a:p>
            <a:r>
              <a:rPr lang="fr-CH" dirty="0"/>
              <a:t>Captures brochet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ACE28B88-D696-C665-5FC7-A802E73618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4458240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806557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3F9C7-54DD-1EC6-E253-3E0885F5F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B7CF19C-4CDA-A7C8-85FC-631241AEA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BD630A9-4488-9524-EB45-D3444DBB7E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brochet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B7B2A5F0-F659-E8A8-6B98-48DD8692AC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308885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4">
            <a:extLst>
              <a:ext uri="{FF2B5EF4-FFF2-40B4-BE49-F238E27FC236}">
                <a16:creationId xmlns:a16="http://schemas.microsoft.com/office/drawing/2014/main" id="{4E80FF84-0D63-82AA-5FC3-44F1B5906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117" y="768024"/>
            <a:ext cx="3613666" cy="104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56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823953-22F7-AD4A-29BD-A63088EB7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D3616A-741F-0ABE-3D4C-08C14B276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3DED8AD-C6A7-8688-339F-6A31D50C64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vengeron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83152263-1AA0-B64E-E19B-550AB46A28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62079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297263DC-96D1-6D46-000C-0CCEECC99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563" y="650252"/>
            <a:ext cx="2560621" cy="119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75345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F6486-CE0E-4332-3863-B15F36AA5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ED6A9B-9033-B3CB-3B39-10CA7A8B3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D2A1251-1627-8F34-BB78-A96C1F6384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vengeron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FC0B4F29-B244-8231-820C-69A592EADD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39075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439EE263-1991-D466-8D0B-EAA97DCE2B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563" y="650252"/>
            <a:ext cx="2560621" cy="119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60598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218B84-B98C-1472-47D5-A068C48254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11B928-D573-C01D-8AAD-59C186AE7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DDBE19E-683B-293C-098D-A6F9D45C0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silur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B655BDF2-D197-D768-3523-A731BA3148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4643712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F19C66A-0CD8-62EF-E874-AFC73DA96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689" y="839218"/>
            <a:ext cx="3491880" cy="93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12173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ACAEF-4FFD-66AE-C1C9-FDAF098E2A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F61CF0-1573-A3A6-D112-9603F3DFB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B1368C1-435C-A675-2083-75FCC58E25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silur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EC1BA8B6-5E09-F356-8757-33584CDA0B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0705817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08376AD7-9EFC-B2A0-98B0-A6034B9239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689" y="839218"/>
            <a:ext cx="3491880" cy="93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8156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E60189-B386-5938-722C-0E4A67164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7A3D90-70DC-D722-0CCE-03BB32AAC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/>
              <a:t>Evolution des vent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E8BDE98-6FB2-DDBC-BF3F-5C4E60ECAA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20890"/>
            <a:ext cx="8242300" cy="369332"/>
          </a:xfrm>
        </p:spPr>
        <p:txBody>
          <a:bodyPr/>
          <a:lstStyle/>
          <a:p>
            <a:r>
              <a:rPr lang="fr-CH" dirty="0"/>
              <a:t>Permis pêche professionnelle 1980 - 2024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F648E9C-5FEF-FC69-EFD1-A9DF2DFA8090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7923806"/>
              </p:ext>
            </p:extLst>
          </p:nvPr>
        </p:nvGraphicFramePr>
        <p:xfrm>
          <a:off x="414641" y="1556792"/>
          <a:ext cx="8167562" cy="4647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884313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C4DF1-F8F3-1D60-0767-FA83A9899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5D6471-D4B9-2C26-D1AC-AADD2C10A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EA0A58B-1393-B315-2991-2B8C2F86C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anguil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F82C5566-1821-3DA6-3852-175CEFDDDD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222354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 5" descr="Une image contenant invertébré, Organisme, Invertébrés marins, poisson&#10;&#10;Le contenu généré par l’IA peut être incorrect.">
            <a:extLst>
              <a:ext uri="{FF2B5EF4-FFF2-40B4-BE49-F238E27FC236}">
                <a16:creationId xmlns:a16="http://schemas.microsoft.com/office/drawing/2014/main" id="{CD7CD580-7F33-D025-A6A7-3ED5CDD958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1027249"/>
            <a:ext cx="2987824" cy="601101"/>
          </a:xfrm>
          <a:prstGeom prst="rect">
            <a:avLst/>
          </a:prstGeom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57C3A9B3-A407-2D00-E50F-EA5DF84195A7}"/>
              </a:ext>
            </a:extLst>
          </p:cNvPr>
          <p:cNvGrpSpPr/>
          <p:nvPr/>
        </p:nvGrpSpPr>
        <p:grpSpPr>
          <a:xfrm>
            <a:off x="7362056" y="2320299"/>
            <a:ext cx="288032" cy="3340949"/>
            <a:chOff x="7362056" y="2320299"/>
            <a:chExt cx="288032" cy="3340949"/>
          </a:xfrm>
        </p:grpSpPr>
        <p:sp>
          <p:nvSpPr>
            <p:cNvPr id="8" name="Flèche : bas 7">
              <a:extLst>
                <a:ext uri="{FF2B5EF4-FFF2-40B4-BE49-F238E27FC236}">
                  <a16:creationId xmlns:a16="http://schemas.microsoft.com/office/drawing/2014/main" id="{4EB4A4CD-34D2-3781-5667-9095D787C8F0}"/>
                </a:ext>
              </a:extLst>
            </p:cNvPr>
            <p:cNvSpPr/>
            <p:nvPr/>
          </p:nvSpPr>
          <p:spPr>
            <a:xfrm>
              <a:off x="7362056" y="4653136"/>
              <a:ext cx="288032" cy="1008112"/>
            </a:xfrm>
            <a:prstGeom prst="downArrow">
              <a:avLst/>
            </a:prstGeom>
            <a:solidFill>
              <a:srgbClr val="97233F"/>
            </a:solidFill>
            <a:ln w="12700">
              <a:solidFill>
                <a:srgbClr val="FFFF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62CDC5B0-6ACF-40BF-6AA3-2B127FC74002}"/>
                </a:ext>
              </a:extLst>
            </p:cNvPr>
            <p:cNvSpPr txBox="1"/>
            <p:nvPr/>
          </p:nvSpPr>
          <p:spPr>
            <a:xfrm rot="16200000">
              <a:off x="6367760" y="3314595"/>
              <a:ext cx="2232248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600" b="1" dirty="0"/>
                <a:t>Interdiction CH - 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25533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7B22D-4300-37D5-FCB5-3BED0EFC6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6DCE0AE-08C4-1489-536D-0316BEC1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de loisir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F6CB90-5F84-1D35-9D12-9DECC5AB24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anguill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929A5677-0159-6521-61DA-B721AC0B48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1491214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Image 2" descr="Une image contenant invertébré, Organisme, Invertébrés marins, poisson&#10;&#10;Le contenu généré par l’IA peut être incorrect.">
            <a:extLst>
              <a:ext uri="{FF2B5EF4-FFF2-40B4-BE49-F238E27FC236}">
                <a16:creationId xmlns:a16="http://schemas.microsoft.com/office/drawing/2014/main" id="{38B5EE84-1353-4DEE-26BE-06996E9F79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1027249"/>
            <a:ext cx="2987824" cy="601101"/>
          </a:xfrm>
          <a:prstGeom prst="rect">
            <a:avLst/>
          </a:prstGeom>
        </p:spPr>
      </p:pic>
      <p:grpSp>
        <p:nvGrpSpPr>
          <p:cNvPr id="7" name="Groupe 6">
            <a:extLst>
              <a:ext uri="{FF2B5EF4-FFF2-40B4-BE49-F238E27FC236}">
                <a16:creationId xmlns:a16="http://schemas.microsoft.com/office/drawing/2014/main" id="{48563A9F-8F20-5BBF-85F8-FCAF36DECBC9}"/>
              </a:ext>
            </a:extLst>
          </p:cNvPr>
          <p:cNvGrpSpPr/>
          <p:nvPr/>
        </p:nvGrpSpPr>
        <p:grpSpPr>
          <a:xfrm>
            <a:off x="7362056" y="2320299"/>
            <a:ext cx="288032" cy="3340949"/>
            <a:chOff x="7362056" y="2320299"/>
            <a:chExt cx="288032" cy="3340949"/>
          </a:xfrm>
        </p:grpSpPr>
        <p:sp>
          <p:nvSpPr>
            <p:cNvPr id="8" name="Flèche : bas 7">
              <a:extLst>
                <a:ext uri="{FF2B5EF4-FFF2-40B4-BE49-F238E27FC236}">
                  <a16:creationId xmlns:a16="http://schemas.microsoft.com/office/drawing/2014/main" id="{819E219E-FA3C-1E3C-6508-E65F43D0EA7C}"/>
                </a:ext>
              </a:extLst>
            </p:cNvPr>
            <p:cNvSpPr/>
            <p:nvPr/>
          </p:nvSpPr>
          <p:spPr>
            <a:xfrm>
              <a:off x="7362056" y="4653136"/>
              <a:ext cx="288032" cy="1008112"/>
            </a:xfrm>
            <a:prstGeom prst="downArrow">
              <a:avLst/>
            </a:prstGeom>
            <a:solidFill>
              <a:srgbClr val="97233F"/>
            </a:solidFill>
            <a:ln w="12700">
              <a:solidFill>
                <a:srgbClr val="FFFF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53A6320F-FD76-3888-B572-AC04819CD5DF}"/>
                </a:ext>
              </a:extLst>
            </p:cNvPr>
            <p:cNvSpPr txBox="1"/>
            <p:nvPr/>
          </p:nvSpPr>
          <p:spPr>
            <a:xfrm rot="16200000">
              <a:off x="6367760" y="3314595"/>
              <a:ext cx="2232248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600" b="1" dirty="0"/>
                <a:t>Interdiction CH - 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49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86060-FA55-157D-BBE0-80B0F6A18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1AEC07-AE49-D239-7E07-2FCEBE66E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606A17-1AFB-98D2-1CD8-E8E41FFDFC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écreviss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4314B118-C6AD-DE4B-2E39-763A3CC81F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9244827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4">
            <a:extLst>
              <a:ext uri="{FF2B5EF4-FFF2-40B4-BE49-F238E27FC236}">
                <a16:creationId xmlns:a16="http://schemas.microsoft.com/office/drawing/2014/main" id="{E4095519-DCDC-ABDC-1C77-8EBA37AAD1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2816" y="821119"/>
            <a:ext cx="2581300" cy="153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8368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05A1E-9A4E-1959-6EAA-D475A70870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D30FA0-4DF0-09AF-16F2-513FE8552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09CA828-A93B-368F-0B6B-7C142F2754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écrevisses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8F2230AA-135F-BB12-39CC-EE79362B39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1896255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052" name="Picture 4">
            <a:extLst>
              <a:ext uri="{FF2B5EF4-FFF2-40B4-BE49-F238E27FC236}">
                <a16:creationId xmlns:a16="http://schemas.microsoft.com/office/drawing/2014/main" id="{2CF9E2BC-C56B-90B0-8313-0C8F1EEA1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2816" y="821119"/>
            <a:ext cx="2581300" cy="153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0071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62936C0-7116-4F33-AF60-1BD1DC958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sz="3100" dirty="0"/>
              <a:t>Résultat des captures en 2024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64BC3BB-947F-4F2F-A6FF-5237A0E2E2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8039" y="903883"/>
            <a:ext cx="8242300" cy="369332"/>
          </a:xfrm>
        </p:spPr>
        <p:txBody>
          <a:bodyPr/>
          <a:lstStyle/>
          <a:p>
            <a:r>
              <a:rPr lang="fr-CH" dirty="0"/>
              <a:t>P</a:t>
            </a:r>
            <a:r>
              <a:rPr lang="fr-CH" sz="2400" dirty="0"/>
              <a:t>êche professionnelle [kg]</a:t>
            </a:r>
            <a:endParaRPr lang="fr-CH" dirty="0"/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466D8CEC-AC29-BAC8-F37D-54944FD587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56165"/>
              </p:ext>
            </p:extLst>
          </p:nvPr>
        </p:nvGraphicFramePr>
        <p:xfrm>
          <a:off x="60087" y="1700808"/>
          <a:ext cx="8976414" cy="38278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5918">
                  <a:extLst>
                    <a:ext uri="{9D8B030D-6E8A-4147-A177-3AD203B41FA5}">
                      <a16:colId xmlns:a16="http://schemas.microsoft.com/office/drawing/2014/main" val="873697345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3649568101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2311521517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2478795496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1240742611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4018325839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637586955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836214911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3462562990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4234753993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539415808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1552326869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1200550039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4269911445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616951244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384249613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2642947636"/>
                    </a:ext>
                  </a:extLst>
                </a:gridCol>
              </a:tblGrid>
              <a:tr h="1973695">
                <a:tc>
                  <a:txBody>
                    <a:bodyPr/>
                    <a:lstStyle/>
                    <a:p>
                      <a:endParaRPr lang="fr-CH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vert="vert27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Perch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Brochet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Bondell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Palé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Vengeron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Truit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Silur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Autres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Ecrevisses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Sandr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Brème</a:t>
                      </a:r>
                    </a:p>
                  </a:txBody>
                  <a:tcPr vert="vert27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Carp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Chevain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Lott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Rotengl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Total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713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F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16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74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N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3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7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2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0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340964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VD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78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0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1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6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8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9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85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8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03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099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5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5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7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3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923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2056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%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6183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5206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49CE6-A772-F834-6E4C-F709585D7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8694F0-4089-9CD7-0192-C508FE025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sz="3100" dirty="0"/>
              <a:t>Résultat des captures en 2024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012210-20EA-56E8-9A3A-2A77ACDC4E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8039" y="903883"/>
            <a:ext cx="8242300" cy="369332"/>
          </a:xfrm>
        </p:spPr>
        <p:txBody>
          <a:bodyPr/>
          <a:lstStyle/>
          <a:p>
            <a:r>
              <a:rPr lang="fr-CH" dirty="0"/>
              <a:t>P</a:t>
            </a:r>
            <a:r>
              <a:rPr lang="fr-CH" sz="2400" dirty="0"/>
              <a:t>êche de loisir [kg]</a:t>
            </a:r>
            <a:endParaRPr lang="fr-CH" dirty="0"/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1D3340F3-AED4-D513-FA3C-C3BF2DEB05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949481"/>
              </p:ext>
            </p:extLst>
          </p:nvPr>
        </p:nvGraphicFramePr>
        <p:xfrm>
          <a:off x="60087" y="1700808"/>
          <a:ext cx="8976414" cy="38278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5918">
                  <a:extLst>
                    <a:ext uri="{9D8B030D-6E8A-4147-A177-3AD203B41FA5}">
                      <a16:colId xmlns:a16="http://schemas.microsoft.com/office/drawing/2014/main" val="873697345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3649568101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2311521517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2478795496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1240742611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4018325839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637586955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836214911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3462562990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4234753993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539415808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1552326869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1200550039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4269911445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616951244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384249613"/>
                    </a:ext>
                  </a:extLst>
                </a:gridCol>
                <a:gridCol w="517531">
                  <a:extLst>
                    <a:ext uri="{9D8B030D-6E8A-4147-A177-3AD203B41FA5}">
                      <a16:colId xmlns:a16="http://schemas.microsoft.com/office/drawing/2014/main" val="2642947636"/>
                    </a:ext>
                  </a:extLst>
                </a:gridCol>
              </a:tblGrid>
              <a:tr h="1973695">
                <a:tc>
                  <a:txBody>
                    <a:bodyPr/>
                    <a:lstStyle/>
                    <a:p>
                      <a:endParaRPr lang="fr-CH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vert="vert27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Perch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Brochet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i="1" dirty="0"/>
                        <a:t>Corégones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i="1" dirty="0"/>
                        <a:t>Ombl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Vengeron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Truit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Silur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Autres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Ecrevisses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Sandr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Brème</a:t>
                      </a:r>
                    </a:p>
                  </a:txBody>
                  <a:tcPr vert="vert27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Carp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Chevain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Lott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Rotengle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CH" sz="1600" dirty="0"/>
                        <a:t>Total</a:t>
                      </a:r>
                    </a:p>
                  </a:txBody>
                  <a:tcPr vert="vert27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713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F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79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74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N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9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37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340964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VD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6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59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099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5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76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2056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600" dirty="0"/>
                        <a:t>%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fr-CH" sz="11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6183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05270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6BD88E-D97C-2DB7-BB9B-EDB8565AF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/>
              <a:t>Répartition pêcheurs et captures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0F3B778F-DA69-7111-4963-D9ACACCE43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4276372"/>
              </p:ext>
            </p:extLst>
          </p:nvPr>
        </p:nvGraphicFramePr>
        <p:xfrm>
          <a:off x="3491880" y="1700808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DB2CFDD0-8BB1-84DA-C434-8A5BAB64B5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8362"/>
              </p:ext>
            </p:extLst>
          </p:nvPr>
        </p:nvGraphicFramePr>
        <p:xfrm>
          <a:off x="-612576" y="1700808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91E81B6-CF5D-93F4-1DB0-B18A44971EFE}"/>
              </a:ext>
            </a:extLst>
          </p:cNvPr>
          <p:cNvSpPr txBox="1">
            <a:spLocks/>
          </p:cNvSpPr>
          <p:nvPr/>
        </p:nvSpPr>
        <p:spPr bwMode="auto">
          <a:xfrm>
            <a:off x="457200" y="920890"/>
            <a:ext cx="82423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2pPr>
            <a:lvl3pPr marL="539750" indent="-265113" algn="l" defTabSz="457200" rtl="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3pPr>
            <a:lvl4pPr marL="803275" indent="-261938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4pPr>
            <a:lvl5pPr marL="1076325" indent="-271463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êche professionnelle 2024</a:t>
            </a:r>
          </a:p>
        </p:txBody>
      </p:sp>
    </p:spTree>
    <p:extLst>
      <p:ext uri="{BB962C8B-B14F-4D97-AF65-F5344CB8AC3E}">
        <p14:creationId xmlns:p14="http://schemas.microsoft.com/office/powerpoint/2010/main" val="2047824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77988-3F11-E670-FC67-AE24956B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95889C8-7403-7F24-90D5-8ED4D867A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/>
              <a:t>Répartition pêcheurs et captures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909F31A2-B983-117E-2429-397620A7D2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0488227"/>
              </p:ext>
            </p:extLst>
          </p:nvPr>
        </p:nvGraphicFramePr>
        <p:xfrm>
          <a:off x="-900608" y="1411213"/>
          <a:ext cx="4608512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77AA9156-DF9D-FE4F-97AF-02DF2FE81B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3345325"/>
              </p:ext>
            </p:extLst>
          </p:nvPr>
        </p:nvGraphicFramePr>
        <p:xfrm>
          <a:off x="1787860" y="2420888"/>
          <a:ext cx="5293402" cy="3719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8CDCA4D-00C2-ABE8-3388-B64751EB46C6}"/>
              </a:ext>
            </a:extLst>
          </p:cNvPr>
          <p:cNvSpPr txBox="1">
            <a:spLocks/>
          </p:cNvSpPr>
          <p:nvPr/>
        </p:nvSpPr>
        <p:spPr bwMode="auto">
          <a:xfrm>
            <a:off x="457200" y="920890"/>
            <a:ext cx="82423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2pPr>
            <a:lvl3pPr marL="539750" indent="-265113" algn="l" defTabSz="457200" rtl="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3pPr>
            <a:lvl4pPr marL="803275" indent="-261938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4pPr>
            <a:lvl5pPr marL="1076325" indent="-271463" algn="l" defTabSz="4572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êche Loisir 2024</a:t>
            </a: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0A52D3B7-4BB9-C750-0923-F51C9F42AE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6732375"/>
              </p:ext>
            </p:extLst>
          </p:nvPr>
        </p:nvGraphicFramePr>
        <p:xfrm>
          <a:off x="5161218" y="1411213"/>
          <a:ext cx="4799856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53214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5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28CF0CA-2FAD-656C-FE96-22D2F573D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volution des captures annuelles</a:t>
            </a:r>
            <a:br>
              <a:rPr lang="fr-CH" dirty="0"/>
            </a:br>
            <a:r>
              <a:rPr lang="fr-CH" dirty="0"/>
              <a:t>pêche professionnelle [kg]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98B027A-0F59-C0E9-A73F-EECD9CEAB0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/>
              <a:t>Captures totales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3861B099-C3B9-A511-A692-FB3A06526B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5369326"/>
              </p:ext>
            </p:extLst>
          </p:nvPr>
        </p:nvGraphicFramePr>
        <p:xfrm>
          <a:off x="0" y="1988840"/>
          <a:ext cx="882047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7453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heme/theme1.xml><?xml version="1.0" encoding="utf-8"?>
<a:theme xmlns:a="http://schemas.openxmlformats.org/drawingml/2006/main" name="PP_100618_Eau_potable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00618_Eau_potable</Template>
  <TotalTime>0</TotalTime>
  <Words>1002</Words>
  <Application>Microsoft Office PowerPoint</Application>
  <PresentationFormat>Affichage à l'écran (4:3)</PresentationFormat>
  <Paragraphs>426</Paragraphs>
  <Slides>4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49" baseType="lpstr">
      <vt:lpstr>Aptos</vt:lpstr>
      <vt:lpstr>Arial</vt:lpstr>
      <vt:lpstr>Calibri</vt:lpstr>
      <vt:lpstr>Lucida Grande</vt:lpstr>
      <vt:lpstr>PP_100618_Eau_potable</vt:lpstr>
      <vt:lpstr>think-cell Slide</vt:lpstr>
      <vt:lpstr>STATISTIQUES DE PÊCHE CONCERNANT LE LAC DE NEUCHÂTEL</vt:lpstr>
      <vt:lpstr>Vente de permis 2024</vt:lpstr>
      <vt:lpstr>Evolution des ventes</vt:lpstr>
      <vt:lpstr>Evolution des ventes</vt:lpstr>
      <vt:lpstr>Résultat des captures en 2024</vt:lpstr>
      <vt:lpstr>Résultat des captures en 2024</vt:lpstr>
      <vt:lpstr>Répartition pêcheurs et captures</vt:lpstr>
      <vt:lpstr>Répartition pêcheurs et captures</vt:lpstr>
      <vt:lpstr>Evolution des captures annuelles pêche professionnelle [kg]</vt:lpstr>
      <vt:lpstr>Evolution des captures annuelles pêche Loisir [kg]</vt:lpstr>
      <vt:lpstr>Evolution des captures annuelles pêche totale [kg]</vt:lpstr>
      <vt:lpstr>Evolution des captures annuelles pêche professionnelle [kg]</vt:lpstr>
      <vt:lpstr>Evolution des captures annuelles pêche professionnelle [kg]</vt:lpstr>
      <vt:lpstr>Evolution des captures annuelles pêche loisir [kg]</vt:lpstr>
      <vt:lpstr>Evolution des captures annuelles pêche totale [kg]</vt:lpstr>
      <vt:lpstr>Effort de pêche</vt:lpstr>
      <vt:lpstr>Evolution des captures annuelles pêche totale [kg]</vt:lpstr>
      <vt:lpstr>Evolution des captures annuelles pêche totale [kg]</vt:lpstr>
      <vt:lpstr>Evolution des captures annuelles pêche totale [kg]</vt:lpstr>
      <vt:lpstr>Evolution des captures annuelles pêche totale [kg]</vt:lpstr>
      <vt:lpstr>Evolution des captures annuelles pêche totale [kg]</vt:lpstr>
      <vt:lpstr>Evolution des captures annuelles pêche totale [kg]</vt:lpstr>
      <vt:lpstr>Evolution des captures annuelles pêche totale [kg]</vt:lpstr>
      <vt:lpstr>Evolution des captures annuelles pêche totale [kg]</vt:lpstr>
      <vt:lpstr>4. Bilan des pêches de géniteurs 2024-2025 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de loisir [kg]</vt:lpstr>
      <vt:lpstr>Evolution des captures annuelles pêche professionnelle [kg]</vt:lpstr>
      <vt:lpstr>Evolution des captures annuelles pêche professionnelle [kg]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ant-projet de loi sur l’eau potable (LEP) Conférence de presse du 18 juin 2010 —</dc:title>
  <dc:creator>Chrsitophe Maillard</dc:creator>
  <cp:lastModifiedBy>Pompini Manuel</cp:lastModifiedBy>
  <cp:revision>559</cp:revision>
  <cp:lastPrinted>2025-06-10T16:34:56Z</cp:lastPrinted>
  <dcterms:created xsi:type="dcterms:W3CDTF">2010-06-14T06:30:27Z</dcterms:created>
  <dcterms:modified xsi:type="dcterms:W3CDTF">2025-07-31T07:09:46Z</dcterms:modified>
</cp:coreProperties>
</file>